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015" r:id="rId2"/>
    <p:sldId id="364" r:id="rId3"/>
    <p:sldId id="2141412204" r:id="rId4"/>
    <p:sldId id="2141412208" r:id="rId5"/>
    <p:sldId id="310" r:id="rId6"/>
    <p:sldId id="366" r:id="rId7"/>
    <p:sldId id="2141412217" r:id="rId8"/>
    <p:sldId id="2141412218" r:id="rId9"/>
    <p:sldId id="2141412142" r:id="rId10"/>
    <p:sldId id="1931" r:id="rId11"/>
    <p:sldId id="2023" r:id="rId12"/>
    <p:sldId id="258" r:id="rId13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F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6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69C5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BA0-4C3B-A81D-FA1ED1EB13CC}"/>
              </c:ext>
            </c:extLst>
          </c:dPt>
          <c:dPt>
            <c:idx val="1"/>
            <c:bubble3D val="0"/>
            <c:spPr>
              <a:solidFill>
                <a:srgbClr val="5698D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BA0-4C3B-A81D-FA1ED1EB13CC}"/>
              </c:ext>
            </c:extLst>
          </c:dPt>
          <c:dLbls>
            <c:dLbl>
              <c:idx val="0"/>
              <c:layout>
                <c:manualLayout>
                  <c:x val="8.8235294117647065E-2"/>
                  <c:y val="-0.1491596638655462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BA0-4C3B-A81D-FA1ED1EB13CC}"/>
                </c:ext>
              </c:extLst>
            </c:dLbl>
            <c:dLbl>
              <c:idx val="1"/>
              <c:layout>
                <c:manualLayout>
                  <c:x val="-8.6659663865546216E-2"/>
                  <c:y val="0.1465336134453781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BA0-4C3B-A81D-FA1ED1EB13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A0-4C3B-A81D-FA1ED1EB13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6.jpeg"/><Relationship Id="rId1" Type="http://schemas.openxmlformats.org/officeDocument/2006/relationships/image" Target="../media/image12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6.jpeg"/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C50138-5598-4887-8174-F4E88238C20F}" type="doc">
      <dgm:prSet loTypeId="urn:microsoft.com/office/officeart/2005/8/layout/hierarchy1" loCatId="hierarchy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8F759B8-AB03-4A9F-A978-FDCB187ECEB9}">
      <dgm:prSet phldrT="[Текст]" custT="1"/>
      <dgm:spPr/>
      <dgm:t>
        <a:bodyPr/>
        <a:lstStyle/>
        <a:p>
          <a:r>
            <a:rPr lang="ru-RU" sz="1800" b="1" dirty="0"/>
            <a:t>Роботизированное доение</a:t>
          </a:r>
        </a:p>
      </dgm:t>
    </dgm:pt>
    <dgm:pt modelId="{976B5B87-8F37-4E38-AFEA-AAEC3CCFD881}" type="parTrans" cxnId="{46F54239-E7C3-4FDE-9995-2FA2C7DA7ED6}">
      <dgm:prSet/>
      <dgm:spPr/>
      <dgm:t>
        <a:bodyPr/>
        <a:lstStyle/>
        <a:p>
          <a:endParaRPr lang="ru-RU"/>
        </a:p>
      </dgm:t>
    </dgm:pt>
    <dgm:pt modelId="{50A89FF5-BBEB-482D-8891-A1131FDECD76}" type="sibTrans" cxnId="{46F54239-E7C3-4FDE-9995-2FA2C7DA7ED6}">
      <dgm:prSet/>
      <dgm:spPr/>
      <dgm:t>
        <a:bodyPr/>
        <a:lstStyle/>
        <a:p>
          <a:endParaRPr lang="ru-RU"/>
        </a:p>
      </dgm:t>
    </dgm:pt>
    <dgm:pt modelId="{D3A190A0-BDBB-4093-8823-04215C0A2A00}">
      <dgm:prSet phldrT="[Текст]"/>
      <dgm:spPr/>
      <dgm:t>
        <a:bodyPr/>
        <a:lstStyle/>
        <a:p>
          <a:r>
            <a:rPr lang="ru-RU" b="1" dirty="0"/>
            <a:t>Фиксированные промежутки времени</a:t>
          </a:r>
          <a:endParaRPr lang="ru-RU" dirty="0"/>
        </a:p>
      </dgm:t>
    </dgm:pt>
    <dgm:pt modelId="{BBFE425A-6346-41B3-A379-EE1922E94BC9}" type="parTrans" cxnId="{814C59F9-BAFD-4C37-A050-6A104F6E7C21}">
      <dgm:prSet/>
      <dgm:spPr/>
      <dgm:t>
        <a:bodyPr/>
        <a:lstStyle/>
        <a:p>
          <a:endParaRPr lang="ru-RU"/>
        </a:p>
      </dgm:t>
    </dgm:pt>
    <dgm:pt modelId="{8EBB01B8-7BD8-47AF-B046-7105F1F23375}" type="sibTrans" cxnId="{814C59F9-BAFD-4C37-A050-6A104F6E7C21}">
      <dgm:prSet/>
      <dgm:spPr/>
      <dgm:t>
        <a:bodyPr/>
        <a:lstStyle/>
        <a:p>
          <a:endParaRPr lang="ru-RU"/>
        </a:p>
      </dgm:t>
    </dgm:pt>
    <dgm:pt modelId="{75FB86DD-B8D5-4867-8DD1-B84202B7092D}">
      <dgm:prSet phldrT="[Текст]" custT="1"/>
      <dgm:spPr/>
      <dgm:t>
        <a:bodyPr/>
        <a:lstStyle/>
        <a:p>
          <a:r>
            <a:rPr lang="ru-RU" sz="1800" b="1" dirty="0"/>
            <a:t>Роботизированная карусель</a:t>
          </a:r>
        </a:p>
      </dgm:t>
    </dgm:pt>
    <dgm:pt modelId="{F829C0D8-FE04-4329-97D2-596B4CDCD440}" type="parTrans" cxnId="{B1C7A188-D166-4961-8DEF-EF20C9A3906F}">
      <dgm:prSet/>
      <dgm:spPr/>
      <dgm:t>
        <a:bodyPr/>
        <a:lstStyle/>
        <a:p>
          <a:endParaRPr lang="ru-RU"/>
        </a:p>
      </dgm:t>
    </dgm:pt>
    <dgm:pt modelId="{6EEA6606-FBEF-4843-A890-BB64DBB3FF5F}" type="sibTrans" cxnId="{B1C7A188-D166-4961-8DEF-EF20C9A3906F}">
      <dgm:prSet/>
      <dgm:spPr/>
      <dgm:t>
        <a:bodyPr/>
        <a:lstStyle/>
        <a:p>
          <a:endParaRPr lang="ru-RU"/>
        </a:p>
      </dgm:t>
    </dgm:pt>
    <dgm:pt modelId="{608EA818-A99B-4251-A699-DB98DEAFBE7C}">
      <dgm:prSet phldrT="[Текст]" custT="1"/>
      <dgm:spPr/>
      <dgm:t>
        <a:bodyPr/>
        <a:lstStyle/>
        <a:p>
          <a:r>
            <a:rPr lang="ru-RU" sz="1800" b="1" dirty="0"/>
            <a:t>Свободный выбор технологии доения</a:t>
          </a:r>
        </a:p>
      </dgm:t>
    </dgm:pt>
    <dgm:pt modelId="{B6AB40FE-DFCE-4F05-86AB-C518E196C4BA}" type="parTrans" cxnId="{216DCC66-81C0-4FFB-9556-EF343B4C2C3D}">
      <dgm:prSet/>
      <dgm:spPr/>
      <dgm:t>
        <a:bodyPr/>
        <a:lstStyle/>
        <a:p>
          <a:endParaRPr lang="ru-RU"/>
        </a:p>
      </dgm:t>
    </dgm:pt>
    <dgm:pt modelId="{8B20B49C-9F41-415E-B601-59DA8938752E}" type="sibTrans" cxnId="{216DCC66-81C0-4FFB-9556-EF343B4C2C3D}">
      <dgm:prSet/>
      <dgm:spPr/>
      <dgm:t>
        <a:bodyPr/>
        <a:lstStyle/>
        <a:p>
          <a:endParaRPr lang="ru-RU"/>
        </a:p>
      </dgm:t>
    </dgm:pt>
    <dgm:pt modelId="{16193F7F-563F-41ED-B4F1-86F4EE852105}">
      <dgm:prSet custT="1"/>
      <dgm:spPr/>
      <dgm:t>
        <a:bodyPr/>
        <a:lstStyle/>
        <a:p>
          <a:r>
            <a:rPr lang="ru-RU" sz="1800" b="1" dirty="0"/>
            <a:t>Одиночно стоящие роботы</a:t>
          </a:r>
        </a:p>
      </dgm:t>
    </dgm:pt>
    <dgm:pt modelId="{5E58B639-3F8F-4444-BF4A-2D408B535689}" type="parTrans" cxnId="{7AECE14C-6F12-4E87-97AB-14DF87A7D6D7}">
      <dgm:prSet/>
      <dgm:spPr/>
      <dgm:t>
        <a:bodyPr/>
        <a:lstStyle/>
        <a:p>
          <a:endParaRPr lang="ru-RU"/>
        </a:p>
      </dgm:t>
    </dgm:pt>
    <dgm:pt modelId="{5F92E636-8648-4108-BD54-09DBA6FAF381}" type="sibTrans" cxnId="{7AECE14C-6F12-4E87-97AB-14DF87A7D6D7}">
      <dgm:prSet/>
      <dgm:spPr/>
      <dgm:t>
        <a:bodyPr/>
        <a:lstStyle/>
        <a:p>
          <a:endParaRPr lang="ru-RU"/>
        </a:p>
      </dgm:t>
    </dgm:pt>
    <dgm:pt modelId="{64C0356F-3142-43E4-B89F-E2232AC1BEA3}">
      <dgm:prSet/>
      <dgm:spPr/>
      <dgm:t>
        <a:bodyPr/>
        <a:lstStyle/>
        <a:p>
          <a:r>
            <a:rPr lang="ru-RU" b="1" dirty="0"/>
            <a:t>Одиночное доение</a:t>
          </a:r>
        </a:p>
      </dgm:t>
    </dgm:pt>
    <dgm:pt modelId="{69066A51-F41E-469B-95B7-8882CF0CA4F1}" type="parTrans" cxnId="{5E0EFA7E-8BB0-45FF-B974-6B2267C10988}">
      <dgm:prSet/>
      <dgm:spPr/>
      <dgm:t>
        <a:bodyPr/>
        <a:lstStyle/>
        <a:p>
          <a:endParaRPr lang="ru-RU"/>
        </a:p>
      </dgm:t>
    </dgm:pt>
    <dgm:pt modelId="{B0902817-63A8-43B4-97CF-18E67B57EFAF}" type="sibTrans" cxnId="{5E0EFA7E-8BB0-45FF-B974-6B2267C10988}">
      <dgm:prSet/>
      <dgm:spPr/>
      <dgm:t>
        <a:bodyPr/>
        <a:lstStyle/>
        <a:p>
          <a:endParaRPr lang="ru-RU"/>
        </a:p>
      </dgm:t>
    </dgm:pt>
    <dgm:pt modelId="{78CF8B80-329C-4AA9-86E9-A9DE5A0C9F05}">
      <dgm:prSet/>
      <dgm:spPr/>
      <dgm:t>
        <a:bodyPr/>
        <a:lstStyle/>
        <a:p>
          <a:r>
            <a:rPr lang="ru-RU" b="1" dirty="0"/>
            <a:t>Доение группами</a:t>
          </a:r>
        </a:p>
      </dgm:t>
    </dgm:pt>
    <dgm:pt modelId="{C89AD931-5590-48F1-841E-308A0B0B9691}" type="parTrans" cxnId="{05781BDD-55FB-4568-AC9F-8D22FA89A5D2}">
      <dgm:prSet/>
      <dgm:spPr/>
      <dgm:t>
        <a:bodyPr/>
        <a:lstStyle/>
        <a:p>
          <a:endParaRPr lang="ru-RU"/>
        </a:p>
      </dgm:t>
    </dgm:pt>
    <dgm:pt modelId="{CA340295-737F-4812-93E7-7E750CB44246}" type="sibTrans" cxnId="{05781BDD-55FB-4568-AC9F-8D22FA89A5D2}">
      <dgm:prSet/>
      <dgm:spPr/>
      <dgm:t>
        <a:bodyPr/>
        <a:lstStyle/>
        <a:p>
          <a:endParaRPr lang="ru-RU"/>
        </a:p>
      </dgm:t>
    </dgm:pt>
    <dgm:pt modelId="{68F86AE6-1866-4065-A19F-410C1520E556}">
      <dgm:prSet/>
      <dgm:spPr/>
      <dgm:t>
        <a:bodyPr/>
        <a:lstStyle/>
        <a:p>
          <a:r>
            <a:rPr lang="ru-RU" b="1" dirty="0"/>
            <a:t>Доение группами</a:t>
          </a:r>
        </a:p>
      </dgm:t>
    </dgm:pt>
    <dgm:pt modelId="{27E2B1C4-73D5-4288-B4D5-D8D202ED60D1}" type="parTrans" cxnId="{0CD02D48-E54E-4F77-9465-016750716BCB}">
      <dgm:prSet/>
      <dgm:spPr/>
      <dgm:t>
        <a:bodyPr/>
        <a:lstStyle/>
        <a:p>
          <a:endParaRPr lang="ru-RU"/>
        </a:p>
      </dgm:t>
    </dgm:pt>
    <dgm:pt modelId="{32CB5D7B-4A56-434F-B9F3-A8F0D5DB9BE7}" type="sibTrans" cxnId="{0CD02D48-E54E-4F77-9465-016750716BCB}">
      <dgm:prSet/>
      <dgm:spPr/>
      <dgm:t>
        <a:bodyPr/>
        <a:lstStyle/>
        <a:p>
          <a:endParaRPr lang="ru-RU"/>
        </a:p>
      </dgm:t>
    </dgm:pt>
    <dgm:pt modelId="{CC6953DF-E7C0-47FD-994A-B6C33812490F}">
      <dgm:prSet phldrT="[Текст]"/>
      <dgm:spPr/>
      <dgm:t>
        <a:bodyPr/>
        <a:lstStyle/>
        <a:p>
          <a:r>
            <a:rPr lang="en-US" b="1" dirty="0"/>
            <a:t>Batch milking</a:t>
          </a:r>
          <a:endParaRPr lang="ru-RU" b="1" dirty="0"/>
        </a:p>
      </dgm:t>
    </dgm:pt>
    <dgm:pt modelId="{520D8A14-7793-4FDA-8EA2-C269E42732EA}" type="sibTrans" cxnId="{17C9548D-FAAE-4880-BAB5-A38BA455A7A5}">
      <dgm:prSet/>
      <dgm:spPr/>
      <dgm:t>
        <a:bodyPr/>
        <a:lstStyle/>
        <a:p>
          <a:endParaRPr lang="ru-RU"/>
        </a:p>
      </dgm:t>
    </dgm:pt>
    <dgm:pt modelId="{66A44996-DE54-411B-9B34-9D109C1A241F}" type="parTrans" cxnId="{17C9548D-FAAE-4880-BAB5-A38BA455A7A5}">
      <dgm:prSet/>
      <dgm:spPr/>
      <dgm:t>
        <a:bodyPr/>
        <a:lstStyle/>
        <a:p>
          <a:endParaRPr lang="ru-RU"/>
        </a:p>
      </dgm:t>
    </dgm:pt>
    <dgm:pt modelId="{4959A7A5-22F9-417B-BE46-BB92075EBC75}" type="pres">
      <dgm:prSet presAssocID="{B6C50138-5598-4887-8174-F4E88238C20F}" presName="hierChild1" presStyleCnt="0">
        <dgm:presLayoutVars>
          <dgm:chPref val="1"/>
          <dgm:dir val="rev"/>
          <dgm:animOne val="branch"/>
          <dgm:animLvl val="lvl"/>
          <dgm:resizeHandles/>
        </dgm:presLayoutVars>
      </dgm:prSet>
      <dgm:spPr/>
    </dgm:pt>
    <dgm:pt modelId="{4A19704C-C90F-40A0-80A0-AE02B14BC2A3}" type="pres">
      <dgm:prSet presAssocID="{88F759B8-AB03-4A9F-A978-FDCB187ECEB9}" presName="hierRoot1" presStyleCnt="0"/>
      <dgm:spPr/>
    </dgm:pt>
    <dgm:pt modelId="{70F0D692-DA3B-4FB0-A481-C7CF8779AAD9}" type="pres">
      <dgm:prSet presAssocID="{88F759B8-AB03-4A9F-A978-FDCB187ECEB9}" presName="composite" presStyleCnt="0"/>
      <dgm:spPr/>
    </dgm:pt>
    <dgm:pt modelId="{027E897A-3626-456A-A3EC-96268EE1B137}" type="pres">
      <dgm:prSet presAssocID="{88F759B8-AB03-4A9F-A978-FDCB187ECEB9}" presName="background" presStyleLbl="node0" presStyleIdx="0" presStyleCnt="1"/>
      <dgm:spPr/>
    </dgm:pt>
    <dgm:pt modelId="{3A060F84-7F47-447A-8D3A-DE9F176D1DF4}" type="pres">
      <dgm:prSet presAssocID="{88F759B8-AB03-4A9F-A978-FDCB187ECEB9}" presName="text" presStyleLbl="fgAcc0" presStyleIdx="0" presStyleCnt="1" custScaleX="203373">
        <dgm:presLayoutVars>
          <dgm:chPref val="3"/>
        </dgm:presLayoutVars>
      </dgm:prSet>
      <dgm:spPr/>
    </dgm:pt>
    <dgm:pt modelId="{DB0E5057-FDD6-4A86-A539-4351A235FC9A}" type="pres">
      <dgm:prSet presAssocID="{88F759B8-AB03-4A9F-A978-FDCB187ECEB9}" presName="hierChild2" presStyleCnt="0"/>
      <dgm:spPr/>
    </dgm:pt>
    <dgm:pt modelId="{7B6F2A64-FB14-4159-9354-E1B6830C0E32}" type="pres">
      <dgm:prSet presAssocID="{BBFE425A-6346-41B3-A379-EE1922E94BC9}" presName="Name10" presStyleLbl="parChTrans1D2" presStyleIdx="0" presStyleCnt="2"/>
      <dgm:spPr/>
    </dgm:pt>
    <dgm:pt modelId="{E8ADD119-F967-40D9-BA8D-883AF70DA7D4}" type="pres">
      <dgm:prSet presAssocID="{D3A190A0-BDBB-4093-8823-04215C0A2A00}" presName="hierRoot2" presStyleCnt="0"/>
      <dgm:spPr/>
    </dgm:pt>
    <dgm:pt modelId="{3DB0D5B5-4EA6-497F-A039-B268EECD486B}" type="pres">
      <dgm:prSet presAssocID="{D3A190A0-BDBB-4093-8823-04215C0A2A00}" presName="composite2" presStyleCnt="0"/>
      <dgm:spPr/>
    </dgm:pt>
    <dgm:pt modelId="{AE385385-F2AC-4CC1-898C-0FA4C31B3935}" type="pres">
      <dgm:prSet presAssocID="{D3A190A0-BDBB-4093-8823-04215C0A2A00}" presName="background2" presStyleLbl="node2" presStyleIdx="0" presStyleCnt="2"/>
      <dgm:spPr/>
    </dgm:pt>
    <dgm:pt modelId="{FC34A3D2-6DD8-4294-AA1A-1B73345FBAA1}" type="pres">
      <dgm:prSet presAssocID="{D3A190A0-BDBB-4093-8823-04215C0A2A00}" presName="text2" presStyleLbl="fgAcc2" presStyleIdx="0" presStyleCnt="2" custScaleX="181577">
        <dgm:presLayoutVars>
          <dgm:chPref val="3"/>
        </dgm:presLayoutVars>
      </dgm:prSet>
      <dgm:spPr/>
    </dgm:pt>
    <dgm:pt modelId="{2F583AB9-B74F-4262-9EEE-D35EE252D064}" type="pres">
      <dgm:prSet presAssocID="{D3A190A0-BDBB-4093-8823-04215C0A2A00}" presName="hierChild3" presStyleCnt="0"/>
      <dgm:spPr/>
    </dgm:pt>
    <dgm:pt modelId="{94F3A2D8-7026-44A2-9201-33EEDE82C730}" type="pres">
      <dgm:prSet presAssocID="{F829C0D8-FE04-4329-97D2-596B4CDCD440}" presName="Name17" presStyleLbl="parChTrans1D3" presStyleIdx="0" presStyleCnt="3"/>
      <dgm:spPr/>
    </dgm:pt>
    <dgm:pt modelId="{86533A7C-D3C9-4FDC-9E4F-42718DC54A46}" type="pres">
      <dgm:prSet presAssocID="{75FB86DD-B8D5-4867-8DD1-B84202B7092D}" presName="hierRoot3" presStyleCnt="0"/>
      <dgm:spPr/>
    </dgm:pt>
    <dgm:pt modelId="{4D0D207C-3ADC-4396-98D7-5A4368EE9108}" type="pres">
      <dgm:prSet presAssocID="{75FB86DD-B8D5-4867-8DD1-B84202B7092D}" presName="composite3" presStyleCnt="0"/>
      <dgm:spPr/>
    </dgm:pt>
    <dgm:pt modelId="{FC53E88D-399A-4F5E-B8C5-46B1CB76F1B5}" type="pres">
      <dgm:prSet presAssocID="{75FB86DD-B8D5-4867-8DD1-B84202B7092D}" presName="background3" presStyleLbl="node3" presStyleIdx="0" presStyleCnt="3"/>
      <dgm:spPr/>
    </dgm:pt>
    <dgm:pt modelId="{FBEB0507-18CB-437E-852E-75A22133F37A}" type="pres">
      <dgm:prSet presAssocID="{75FB86DD-B8D5-4867-8DD1-B84202B7092D}" presName="text3" presStyleLbl="fgAcc3" presStyleIdx="0" presStyleCnt="3" custScaleX="133181">
        <dgm:presLayoutVars>
          <dgm:chPref val="3"/>
        </dgm:presLayoutVars>
      </dgm:prSet>
      <dgm:spPr/>
    </dgm:pt>
    <dgm:pt modelId="{4E9154C4-15BD-4C93-8243-E9C5A6E9A5DA}" type="pres">
      <dgm:prSet presAssocID="{75FB86DD-B8D5-4867-8DD1-B84202B7092D}" presName="hierChild4" presStyleCnt="0"/>
      <dgm:spPr/>
    </dgm:pt>
    <dgm:pt modelId="{5B30EB19-BC81-476C-9D06-BC63863DDA03}" type="pres">
      <dgm:prSet presAssocID="{27E2B1C4-73D5-4288-B4D5-D8D202ED60D1}" presName="Name23" presStyleLbl="parChTrans1D4" presStyleIdx="0" presStyleCnt="3"/>
      <dgm:spPr/>
    </dgm:pt>
    <dgm:pt modelId="{51D95D73-BB32-4E5B-B95C-8C4321CA3123}" type="pres">
      <dgm:prSet presAssocID="{68F86AE6-1866-4065-A19F-410C1520E556}" presName="hierRoot4" presStyleCnt="0"/>
      <dgm:spPr/>
    </dgm:pt>
    <dgm:pt modelId="{536C01D5-D684-4581-A879-DEB4D5EADD6D}" type="pres">
      <dgm:prSet presAssocID="{68F86AE6-1866-4065-A19F-410C1520E556}" presName="composite4" presStyleCnt="0"/>
      <dgm:spPr/>
    </dgm:pt>
    <dgm:pt modelId="{BD8401C8-D368-4802-B87F-CFF6496886A1}" type="pres">
      <dgm:prSet presAssocID="{68F86AE6-1866-4065-A19F-410C1520E556}" presName="background4" presStyleLbl="node4" presStyleIdx="0" presStyleCnt="3"/>
      <dgm:spPr/>
    </dgm:pt>
    <dgm:pt modelId="{F763F9BA-A8CD-402E-B819-B4A669F4AA79}" type="pres">
      <dgm:prSet presAssocID="{68F86AE6-1866-4065-A19F-410C1520E556}" presName="text4" presStyleLbl="fgAcc4" presStyleIdx="0" presStyleCnt="3" custScaleX="124118">
        <dgm:presLayoutVars>
          <dgm:chPref val="3"/>
        </dgm:presLayoutVars>
      </dgm:prSet>
      <dgm:spPr/>
    </dgm:pt>
    <dgm:pt modelId="{F84BD6AC-D0E5-4C5C-9AA1-3AE38E69CD0C}" type="pres">
      <dgm:prSet presAssocID="{68F86AE6-1866-4065-A19F-410C1520E556}" presName="hierChild5" presStyleCnt="0"/>
      <dgm:spPr/>
    </dgm:pt>
    <dgm:pt modelId="{F933F434-493A-4227-8760-2A149659BDED}" type="pres">
      <dgm:prSet presAssocID="{66A44996-DE54-411B-9B34-9D109C1A241F}" presName="Name17" presStyleLbl="parChTrans1D3" presStyleIdx="1" presStyleCnt="3"/>
      <dgm:spPr/>
    </dgm:pt>
    <dgm:pt modelId="{3D9ED563-E291-4CB4-AD44-C7B48E10CD96}" type="pres">
      <dgm:prSet presAssocID="{CC6953DF-E7C0-47FD-994A-B6C33812490F}" presName="hierRoot3" presStyleCnt="0"/>
      <dgm:spPr/>
    </dgm:pt>
    <dgm:pt modelId="{52C3C59F-ABCB-4EC1-BE07-A80B21672BAF}" type="pres">
      <dgm:prSet presAssocID="{CC6953DF-E7C0-47FD-994A-B6C33812490F}" presName="composite3" presStyleCnt="0"/>
      <dgm:spPr/>
    </dgm:pt>
    <dgm:pt modelId="{26BDD23E-F48A-4D00-9A84-6FD3BDFF6D09}" type="pres">
      <dgm:prSet presAssocID="{CC6953DF-E7C0-47FD-994A-B6C33812490F}" presName="background3" presStyleLbl="node3" presStyleIdx="1" presStyleCnt="3"/>
      <dgm:spPr/>
    </dgm:pt>
    <dgm:pt modelId="{B6C8B6E5-2B64-4BC8-802C-FDAC71004E52}" type="pres">
      <dgm:prSet presAssocID="{CC6953DF-E7C0-47FD-994A-B6C33812490F}" presName="text3" presStyleLbl="fgAcc3" presStyleIdx="1" presStyleCnt="3">
        <dgm:presLayoutVars>
          <dgm:chPref val="3"/>
        </dgm:presLayoutVars>
      </dgm:prSet>
      <dgm:spPr/>
    </dgm:pt>
    <dgm:pt modelId="{62C8EF10-B634-4F0A-BE69-EBEF0D9B4953}" type="pres">
      <dgm:prSet presAssocID="{CC6953DF-E7C0-47FD-994A-B6C33812490F}" presName="hierChild4" presStyleCnt="0"/>
      <dgm:spPr/>
    </dgm:pt>
    <dgm:pt modelId="{9B4505AA-4BCD-4DA7-BBC8-A23039ABE80E}" type="pres">
      <dgm:prSet presAssocID="{C89AD931-5590-48F1-841E-308A0B0B9691}" presName="Name23" presStyleLbl="parChTrans1D4" presStyleIdx="1" presStyleCnt="3"/>
      <dgm:spPr/>
    </dgm:pt>
    <dgm:pt modelId="{C7A7BDC4-E993-4E87-94F0-C1D6DF7BE072}" type="pres">
      <dgm:prSet presAssocID="{78CF8B80-329C-4AA9-86E9-A9DE5A0C9F05}" presName="hierRoot4" presStyleCnt="0"/>
      <dgm:spPr/>
    </dgm:pt>
    <dgm:pt modelId="{1169BB65-5044-410F-B472-DBC3580D32CB}" type="pres">
      <dgm:prSet presAssocID="{78CF8B80-329C-4AA9-86E9-A9DE5A0C9F05}" presName="composite4" presStyleCnt="0"/>
      <dgm:spPr/>
    </dgm:pt>
    <dgm:pt modelId="{37D390CB-7816-4753-A52B-09637F9A2842}" type="pres">
      <dgm:prSet presAssocID="{78CF8B80-329C-4AA9-86E9-A9DE5A0C9F05}" presName="background4" presStyleLbl="node4" presStyleIdx="1" presStyleCnt="3"/>
      <dgm:spPr/>
    </dgm:pt>
    <dgm:pt modelId="{4D7C0CFA-A665-4D5E-AEC2-D18642C2775C}" type="pres">
      <dgm:prSet presAssocID="{78CF8B80-329C-4AA9-86E9-A9DE5A0C9F05}" presName="text4" presStyleLbl="fgAcc4" presStyleIdx="1" presStyleCnt="3">
        <dgm:presLayoutVars>
          <dgm:chPref val="3"/>
        </dgm:presLayoutVars>
      </dgm:prSet>
      <dgm:spPr/>
    </dgm:pt>
    <dgm:pt modelId="{1BA149DD-B305-41A5-96C4-2DDEED4503A9}" type="pres">
      <dgm:prSet presAssocID="{78CF8B80-329C-4AA9-86E9-A9DE5A0C9F05}" presName="hierChild5" presStyleCnt="0"/>
      <dgm:spPr/>
    </dgm:pt>
    <dgm:pt modelId="{BADED863-907E-4A6F-BE53-A0EB5C3F4E60}" type="pres">
      <dgm:prSet presAssocID="{B6AB40FE-DFCE-4F05-86AB-C518E196C4BA}" presName="Name10" presStyleLbl="parChTrans1D2" presStyleIdx="1" presStyleCnt="2"/>
      <dgm:spPr/>
    </dgm:pt>
    <dgm:pt modelId="{3E888AE8-4593-4C12-B55A-C615EE8386CA}" type="pres">
      <dgm:prSet presAssocID="{608EA818-A99B-4251-A699-DB98DEAFBE7C}" presName="hierRoot2" presStyleCnt="0"/>
      <dgm:spPr/>
    </dgm:pt>
    <dgm:pt modelId="{11CE2BB2-39D6-4E55-B41A-016AC6386B34}" type="pres">
      <dgm:prSet presAssocID="{608EA818-A99B-4251-A699-DB98DEAFBE7C}" presName="composite2" presStyleCnt="0"/>
      <dgm:spPr/>
    </dgm:pt>
    <dgm:pt modelId="{BC4BB7A4-6312-4D3A-9287-6B6595CA6690}" type="pres">
      <dgm:prSet presAssocID="{608EA818-A99B-4251-A699-DB98DEAFBE7C}" presName="background2" presStyleLbl="node2" presStyleIdx="1" presStyleCnt="2"/>
      <dgm:spPr/>
    </dgm:pt>
    <dgm:pt modelId="{B68D4B76-DEB8-4223-A7FF-22E958512A38}" type="pres">
      <dgm:prSet presAssocID="{608EA818-A99B-4251-A699-DB98DEAFBE7C}" presName="text2" presStyleLbl="fgAcc2" presStyleIdx="1" presStyleCnt="2" custScaleX="165305">
        <dgm:presLayoutVars>
          <dgm:chPref val="3"/>
        </dgm:presLayoutVars>
      </dgm:prSet>
      <dgm:spPr/>
    </dgm:pt>
    <dgm:pt modelId="{4420D853-42C4-426C-98F1-17A483EF086C}" type="pres">
      <dgm:prSet presAssocID="{608EA818-A99B-4251-A699-DB98DEAFBE7C}" presName="hierChild3" presStyleCnt="0"/>
      <dgm:spPr/>
    </dgm:pt>
    <dgm:pt modelId="{06DC8E89-E256-4D70-9B37-2B77725A87B8}" type="pres">
      <dgm:prSet presAssocID="{5E58B639-3F8F-4444-BF4A-2D408B535689}" presName="Name17" presStyleLbl="parChTrans1D3" presStyleIdx="2" presStyleCnt="3"/>
      <dgm:spPr/>
    </dgm:pt>
    <dgm:pt modelId="{3BDB973E-5065-4033-87A9-53477551FE6C}" type="pres">
      <dgm:prSet presAssocID="{16193F7F-563F-41ED-B4F1-86F4EE852105}" presName="hierRoot3" presStyleCnt="0"/>
      <dgm:spPr/>
    </dgm:pt>
    <dgm:pt modelId="{BE6C0FF8-8B91-486B-BDC2-7CDB456E0C52}" type="pres">
      <dgm:prSet presAssocID="{16193F7F-563F-41ED-B4F1-86F4EE852105}" presName="composite3" presStyleCnt="0"/>
      <dgm:spPr/>
    </dgm:pt>
    <dgm:pt modelId="{09E20DC3-2041-4D4B-ABA0-027CFA455041}" type="pres">
      <dgm:prSet presAssocID="{16193F7F-563F-41ED-B4F1-86F4EE852105}" presName="background3" presStyleLbl="node3" presStyleIdx="2" presStyleCnt="3"/>
      <dgm:spPr/>
    </dgm:pt>
    <dgm:pt modelId="{52A5FC6E-6677-475C-95C7-58DC12FF11D4}" type="pres">
      <dgm:prSet presAssocID="{16193F7F-563F-41ED-B4F1-86F4EE852105}" presName="text3" presStyleLbl="fgAcc3" presStyleIdx="2" presStyleCnt="3" custScaleX="151868">
        <dgm:presLayoutVars>
          <dgm:chPref val="3"/>
        </dgm:presLayoutVars>
      </dgm:prSet>
      <dgm:spPr/>
    </dgm:pt>
    <dgm:pt modelId="{4E1C00B9-19B6-4A7A-BEE1-04A67D0EE9E8}" type="pres">
      <dgm:prSet presAssocID="{16193F7F-563F-41ED-B4F1-86F4EE852105}" presName="hierChild4" presStyleCnt="0"/>
      <dgm:spPr/>
    </dgm:pt>
    <dgm:pt modelId="{A2B22705-1612-41E1-B032-3337BCB4A6C8}" type="pres">
      <dgm:prSet presAssocID="{69066A51-F41E-469B-95B7-8882CF0CA4F1}" presName="Name23" presStyleLbl="parChTrans1D4" presStyleIdx="2" presStyleCnt="3"/>
      <dgm:spPr/>
    </dgm:pt>
    <dgm:pt modelId="{173D05C8-51AD-4EB6-93A2-1D7E45C62F92}" type="pres">
      <dgm:prSet presAssocID="{64C0356F-3142-43E4-B89F-E2232AC1BEA3}" presName="hierRoot4" presStyleCnt="0"/>
      <dgm:spPr/>
    </dgm:pt>
    <dgm:pt modelId="{F333A80C-0FBA-4F05-9D2B-E4D37DF0FEEC}" type="pres">
      <dgm:prSet presAssocID="{64C0356F-3142-43E4-B89F-E2232AC1BEA3}" presName="composite4" presStyleCnt="0"/>
      <dgm:spPr/>
    </dgm:pt>
    <dgm:pt modelId="{3AE86AA0-2F00-4862-8E42-0BE8CAFE5262}" type="pres">
      <dgm:prSet presAssocID="{64C0356F-3142-43E4-B89F-E2232AC1BEA3}" presName="background4" presStyleLbl="node4" presStyleIdx="2" presStyleCnt="3"/>
      <dgm:spPr/>
    </dgm:pt>
    <dgm:pt modelId="{5862F99B-6A44-4DA8-B08E-0188E684D66C}" type="pres">
      <dgm:prSet presAssocID="{64C0356F-3142-43E4-B89F-E2232AC1BEA3}" presName="text4" presStyleLbl="fgAcc4" presStyleIdx="2" presStyleCnt="3" custScaleX="151869">
        <dgm:presLayoutVars>
          <dgm:chPref val="3"/>
        </dgm:presLayoutVars>
      </dgm:prSet>
      <dgm:spPr/>
    </dgm:pt>
    <dgm:pt modelId="{12EC1537-3E3D-492B-86A3-3ABF6439A8EC}" type="pres">
      <dgm:prSet presAssocID="{64C0356F-3142-43E4-B89F-E2232AC1BEA3}" presName="hierChild5" presStyleCnt="0"/>
      <dgm:spPr/>
    </dgm:pt>
  </dgm:ptLst>
  <dgm:cxnLst>
    <dgm:cxn modelId="{9532DC10-20C2-4631-9690-55DD038E8DF3}" type="presOf" srcId="{75FB86DD-B8D5-4867-8DD1-B84202B7092D}" destId="{FBEB0507-18CB-437E-852E-75A22133F37A}" srcOrd="0" destOrd="0" presId="urn:microsoft.com/office/officeart/2005/8/layout/hierarchy1"/>
    <dgm:cxn modelId="{198CEA14-6D69-452F-917D-A0A08CC47C2D}" type="presOf" srcId="{27E2B1C4-73D5-4288-B4D5-D8D202ED60D1}" destId="{5B30EB19-BC81-476C-9D06-BC63863DDA03}" srcOrd="0" destOrd="0" presId="urn:microsoft.com/office/officeart/2005/8/layout/hierarchy1"/>
    <dgm:cxn modelId="{CC85521B-3FEA-44ED-8B36-D8EBAB4E6531}" type="presOf" srcId="{CC6953DF-E7C0-47FD-994A-B6C33812490F}" destId="{B6C8B6E5-2B64-4BC8-802C-FDAC71004E52}" srcOrd="0" destOrd="0" presId="urn:microsoft.com/office/officeart/2005/8/layout/hierarchy1"/>
    <dgm:cxn modelId="{2F80422A-E4F6-4E9A-9440-FC9B78A1F762}" type="presOf" srcId="{69066A51-F41E-469B-95B7-8882CF0CA4F1}" destId="{A2B22705-1612-41E1-B032-3337BCB4A6C8}" srcOrd="0" destOrd="0" presId="urn:microsoft.com/office/officeart/2005/8/layout/hierarchy1"/>
    <dgm:cxn modelId="{374DFB2F-6CE5-439A-A42B-1FF24B750006}" type="presOf" srcId="{66A44996-DE54-411B-9B34-9D109C1A241F}" destId="{F933F434-493A-4227-8760-2A149659BDED}" srcOrd="0" destOrd="0" presId="urn:microsoft.com/office/officeart/2005/8/layout/hierarchy1"/>
    <dgm:cxn modelId="{7FBBE237-A5F2-422E-B432-F0475B0625EF}" type="presOf" srcId="{B6C50138-5598-4887-8174-F4E88238C20F}" destId="{4959A7A5-22F9-417B-BE46-BB92075EBC75}" srcOrd="0" destOrd="0" presId="urn:microsoft.com/office/officeart/2005/8/layout/hierarchy1"/>
    <dgm:cxn modelId="{40F11539-99D6-4973-A61A-1668B260B537}" type="presOf" srcId="{B6AB40FE-DFCE-4F05-86AB-C518E196C4BA}" destId="{BADED863-907E-4A6F-BE53-A0EB5C3F4E60}" srcOrd="0" destOrd="0" presId="urn:microsoft.com/office/officeart/2005/8/layout/hierarchy1"/>
    <dgm:cxn modelId="{46F54239-E7C3-4FDE-9995-2FA2C7DA7ED6}" srcId="{B6C50138-5598-4887-8174-F4E88238C20F}" destId="{88F759B8-AB03-4A9F-A978-FDCB187ECEB9}" srcOrd="0" destOrd="0" parTransId="{976B5B87-8F37-4E38-AFEA-AAEC3CCFD881}" sibTransId="{50A89FF5-BBEB-482D-8891-A1131FDECD76}"/>
    <dgm:cxn modelId="{77D92362-F793-4CF2-B5A3-8E875FF229B3}" type="presOf" srcId="{BBFE425A-6346-41B3-A379-EE1922E94BC9}" destId="{7B6F2A64-FB14-4159-9354-E1B6830C0E32}" srcOrd="0" destOrd="0" presId="urn:microsoft.com/office/officeart/2005/8/layout/hierarchy1"/>
    <dgm:cxn modelId="{216DCC66-81C0-4FFB-9556-EF343B4C2C3D}" srcId="{88F759B8-AB03-4A9F-A978-FDCB187ECEB9}" destId="{608EA818-A99B-4251-A699-DB98DEAFBE7C}" srcOrd="1" destOrd="0" parTransId="{B6AB40FE-DFCE-4F05-86AB-C518E196C4BA}" sibTransId="{8B20B49C-9F41-415E-B601-59DA8938752E}"/>
    <dgm:cxn modelId="{0CD02D48-E54E-4F77-9465-016750716BCB}" srcId="{75FB86DD-B8D5-4867-8DD1-B84202B7092D}" destId="{68F86AE6-1866-4065-A19F-410C1520E556}" srcOrd="0" destOrd="0" parTransId="{27E2B1C4-73D5-4288-B4D5-D8D202ED60D1}" sibTransId="{32CB5D7B-4A56-434F-B9F3-A8F0D5DB9BE7}"/>
    <dgm:cxn modelId="{33215C4B-9198-4334-98E6-5C1B9284FC3F}" type="presOf" srcId="{F829C0D8-FE04-4329-97D2-596B4CDCD440}" destId="{94F3A2D8-7026-44A2-9201-33EEDE82C730}" srcOrd="0" destOrd="0" presId="urn:microsoft.com/office/officeart/2005/8/layout/hierarchy1"/>
    <dgm:cxn modelId="{7AECE14C-6F12-4E87-97AB-14DF87A7D6D7}" srcId="{608EA818-A99B-4251-A699-DB98DEAFBE7C}" destId="{16193F7F-563F-41ED-B4F1-86F4EE852105}" srcOrd="0" destOrd="0" parTransId="{5E58B639-3F8F-4444-BF4A-2D408B535689}" sibTransId="{5F92E636-8648-4108-BD54-09DBA6FAF381}"/>
    <dgm:cxn modelId="{EBF3D05A-B928-4E09-A936-DBA5E5785CF1}" type="presOf" srcId="{78CF8B80-329C-4AA9-86E9-A9DE5A0C9F05}" destId="{4D7C0CFA-A665-4D5E-AEC2-D18642C2775C}" srcOrd="0" destOrd="0" presId="urn:microsoft.com/office/officeart/2005/8/layout/hierarchy1"/>
    <dgm:cxn modelId="{6D22C67D-AB8B-48EE-94BB-0D7FFD272913}" type="presOf" srcId="{16193F7F-563F-41ED-B4F1-86F4EE852105}" destId="{52A5FC6E-6677-475C-95C7-58DC12FF11D4}" srcOrd="0" destOrd="0" presId="urn:microsoft.com/office/officeart/2005/8/layout/hierarchy1"/>
    <dgm:cxn modelId="{5E0EFA7E-8BB0-45FF-B974-6B2267C10988}" srcId="{16193F7F-563F-41ED-B4F1-86F4EE852105}" destId="{64C0356F-3142-43E4-B89F-E2232AC1BEA3}" srcOrd="0" destOrd="0" parTransId="{69066A51-F41E-469B-95B7-8882CF0CA4F1}" sibTransId="{B0902817-63A8-43B4-97CF-18E67B57EFAF}"/>
    <dgm:cxn modelId="{AD09A783-24CA-4134-B362-962DC7391113}" type="presOf" srcId="{64C0356F-3142-43E4-B89F-E2232AC1BEA3}" destId="{5862F99B-6A44-4DA8-B08E-0188E684D66C}" srcOrd="0" destOrd="0" presId="urn:microsoft.com/office/officeart/2005/8/layout/hierarchy1"/>
    <dgm:cxn modelId="{B1C7A188-D166-4961-8DEF-EF20C9A3906F}" srcId="{D3A190A0-BDBB-4093-8823-04215C0A2A00}" destId="{75FB86DD-B8D5-4867-8DD1-B84202B7092D}" srcOrd="0" destOrd="0" parTransId="{F829C0D8-FE04-4329-97D2-596B4CDCD440}" sibTransId="{6EEA6606-FBEF-4843-A890-BB64DBB3FF5F}"/>
    <dgm:cxn modelId="{17C9548D-FAAE-4880-BAB5-A38BA455A7A5}" srcId="{D3A190A0-BDBB-4093-8823-04215C0A2A00}" destId="{CC6953DF-E7C0-47FD-994A-B6C33812490F}" srcOrd="1" destOrd="0" parTransId="{66A44996-DE54-411B-9B34-9D109C1A241F}" sibTransId="{520D8A14-7793-4FDA-8EA2-C269E42732EA}"/>
    <dgm:cxn modelId="{A743308F-308D-4F98-95DE-41F384EAF9C2}" type="presOf" srcId="{88F759B8-AB03-4A9F-A978-FDCB187ECEB9}" destId="{3A060F84-7F47-447A-8D3A-DE9F176D1DF4}" srcOrd="0" destOrd="0" presId="urn:microsoft.com/office/officeart/2005/8/layout/hierarchy1"/>
    <dgm:cxn modelId="{2CBE3299-7BFE-4CBE-AA70-6A8EC8E48C46}" type="presOf" srcId="{D3A190A0-BDBB-4093-8823-04215C0A2A00}" destId="{FC34A3D2-6DD8-4294-AA1A-1B73345FBAA1}" srcOrd="0" destOrd="0" presId="urn:microsoft.com/office/officeart/2005/8/layout/hierarchy1"/>
    <dgm:cxn modelId="{916B30B0-520B-45F0-81AE-1A47481268A6}" type="presOf" srcId="{C89AD931-5590-48F1-841E-308A0B0B9691}" destId="{9B4505AA-4BCD-4DA7-BBC8-A23039ABE80E}" srcOrd="0" destOrd="0" presId="urn:microsoft.com/office/officeart/2005/8/layout/hierarchy1"/>
    <dgm:cxn modelId="{F6F223B9-FAE7-456F-97AD-245ECEB473FE}" type="presOf" srcId="{608EA818-A99B-4251-A699-DB98DEAFBE7C}" destId="{B68D4B76-DEB8-4223-A7FF-22E958512A38}" srcOrd="0" destOrd="0" presId="urn:microsoft.com/office/officeart/2005/8/layout/hierarchy1"/>
    <dgm:cxn modelId="{74AB38C5-71C8-4826-8010-5652FBFC622B}" type="presOf" srcId="{5E58B639-3F8F-4444-BF4A-2D408B535689}" destId="{06DC8E89-E256-4D70-9B37-2B77725A87B8}" srcOrd="0" destOrd="0" presId="urn:microsoft.com/office/officeart/2005/8/layout/hierarchy1"/>
    <dgm:cxn modelId="{05781BDD-55FB-4568-AC9F-8D22FA89A5D2}" srcId="{CC6953DF-E7C0-47FD-994A-B6C33812490F}" destId="{78CF8B80-329C-4AA9-86E9-A9DE5A0C9F05}" srcOrd="0" destOrd="0" parTransId="{C89AD931-5590-48F1-841E-308A0B0B9691}" sibTransId="{CA340295-737F-4812-93E7-7E750CB44246}"/>
    <dgm:cxn modelId="{6E9B51F4-D7E5-4E34-9617-55E11874C920}" type="presOf" srcId="{68F86AE6-1866-4065-A19F-410C1520E556}" destId="{F763F9BA-A8CD-402E-B819-B4A669F4AA79}" srcOrd="0" destOrd="0" presId="urn:microsoft.com/office/officeart/2005/8/layout/hierarchy1"/>
    <dgm:cxn modelId="{814C59F9-BAFD-4C37-A050-6A104F6E7C21}" srcId="{88F759B8-AB03-4A9F-A978-FDCB187ECEB9}" destId="{D3A190A0-BDBB-4093-8823-04215C0A2A00}" srcOrd="0" destOrd="0" parTransId="{BBFE425A-6346-41B3-A379-EE1922E94BC9}" sibTransId="{8EBB01B8-7BD8-47AF-B046-7105F1F23375}"/>
    <dgm:cxn modelId="{FD44ADF5-BF18-4C6B-812A-C997B44E5B0B}" type="presParOf" srcId="{4959A7A5-22F9-417B-BE46-BB92075EBC75}" destId="{4A19704C-C90F-40A0-80A0-AE02B14BC2A3}" srcOrd="0" destOrd="0" presId="urn:microsoft.com/office/officeart/2005/8/layout/hierarchy1"/>
    <dgm:cxn modelId="{99E5BC1B-C040-4A41-AF8E-7511DD0939E0}" type="presParOf" srcId="{4A19704C-C90F-40A0-80A0-AE02B14BC2A3}" destId="{70F0D692-DA3B-4FB0-A481-C7CF8779AAD9}" srcOrd="0" destOrd="0" presId="urn:microsoft.com/office/officeart/2005/8/layout/hierarchy1"/>
    <dgm:cxn modelId="{E9AA9CE3-F54B-4C9B-BE91-A2CF87B9A861}" type="presParOf" srcId="{70F0D692-DA3B-4FB0-A481-C7CF8779AAD9}" destId="{027E897A-3626-456A-A3EC-96268EE1B137}" srcOrd="0" destOrd="0" presId="urn:microsoft.com/office/officeart/2005/8/layout/hierarchy1"/>
    <dgm:cxn modelId="{E13EBA80-DF74-49AB-A3A7-2DEF0FA9DC97}" type="presParOf" srcId="{70F0D692-DA3B-4FB0-A481-C7CF8779AAD9}" destId="{3A060F84-7F47-447A-8D3A-DE9F176D1DF4}" srcOrd="1" destOrd="0" presId="urn:microsoft.com/office/officeart/2005/8/layout/hierarchy1"/>
    <dgm:cxn modelId="{67635F77-2E1B-4675-8CFC-6E67D7C56EAC}" type="presParOf" srcId="{4A19704C-C90F-40A0-80A0-AE02B14BC2A3}" destId="{DB0E5057-FDD6-4A86-A539-4351A235FC9A}" srcOrd="1" destOrd="0" presId="urn:microsoft.com/office/officeart/2005/8/layout/hierarchy1"/>
    <dgm:cxn modelId="{7B7AF119-92B1-49F5-9FF1-CE02A640A33C}" type="presParOf" srcId="{DB0E5057-FDD6-4A86-A539-4351A235FC9A}" destId="{7B6F2A64-FB14-4159-9354-E1B6830C0E32}" srcOrd="0" destOrd="0" presId="urn:microsoft.com/office/officeart/2005/8/layout/hierarchy1"/>
    <dgm:cxn modelId="{EB0DE7C4-0DB5-4FE8-A44D-BCD65DC2D7BC}" type="presParOf" srcId="{DB0E5057-FDD6-4A86-A539-4351A235FC9A}" destId="{E8ADD119-F967-40D9-BA8D-883AF70DA7D4}" srcOrd="1" destOrd="0" presId="urn:microsoft.com/office/officeart/2005/8/layout/hierarchy1"/>
    <dgm:cxn modelId="{FFD3022F-DFAD-4F54-9165-53987EC0A8A6}" type="presParOf" srcId="{E8ADD119-F967-40D9-BA8D-883AF70DA7D4}" destId="{3DB0D5B5-4EA6-497F-A039-B268EECD486B}" srcOrd="0" destOrd="0" presId="urn:microsoft.com/office/officeart/2005/8/layout/hierarchy1"/>
    <dgm:cxn modelId="{5D5CC20D-EF6E-4503-9F93-D8485656494B}" type="presParOf" srcId="{3DB0D5B5-4EA6-497F-A039-B268EECD486B}" destId="{AE385385-F2AC-4CC1-898C-0FA4C31B3935}" srcOrd="0" destOrd="0" presId="urn:microsoft.com/office/officeart/2005/8/layout/hierarchy1"/>
    <dgm:cxn modelId="{9A4F6384-D811-4466-9615-6A2452E63174}" type="presParOf" srcId="{3DB0D5B5-4EA6-497F-A039-B268EECD486B}" destId="{FC34A3D2-6DD8-4294-AA1A-1B73345FBAA1}" srcOrd="1" destOrd="0" presId="urn:microsoft.com/office/officeart/2005/8/layout/hierarchy1"/>
    <dgm:cxn modelId="{72C8CB57-97C8-4041-B788-CB7C1F2C0664}" type="presParOf" srcId="{E8ADD119-F967-40D9-BA8D-883AF70DA7D4}" destId="{2F583AB9-B74F-4262-9EEE-D35EE252D064}" srcOrd="1" destOrd="0" presId="urn:microsoft.com/office/officeart/2005/8/layout/hierarchy1"/>
    <dgm:cxn modelId="{9EB3023A-BDAC-461A-A514-6A83ED86631A}" type="presParOf" srcId="{2F583AB9-B74F-4262-9EEE-D35EE252D064}" destId="{94F3A2D8-7026-44A2-9201-33EEDE82C730}" srcOrd="0" destOrd="0" presId="urn:microsoft.com/office/officeart/2005/8/layout/hierarchy1"/>
    <dgm:cxn modelId="{0E7D76C7-BD1A-42E0-B08B-39B9F41444A0}" type="presParOf" srcId="{2F583AB9-B74F-4262-9EEE-D35EE252D064}" destId="{86533A7C-D3C9-4FDC-9E4F-42718DC54A46}" srcOrd="1" destOrd="0" presId="urn:microsoft.com/office/officeart/2005/8/layout/hierarchy1"/>
    <dgm:cxn modelId="{34E72F8A-75FD-432D-8FDB-2DFBB91A9ADA}" type="presParOf" srcId="{86533A7C-D3C9-4FDC-9E4F-42718DC54A46}" destId="{4D0D207C-3ADC-4396-98D7-5A4368EE9108}" srcOrd="0" destOrd="0" presId="urn:microsoft.com/office/officeart/2005/8/layout/hierarchy1"/>
    <dgm:cxn modelId="{6858760A-254F-495C-8894-A52AA0ECED0E}" type="presParOf" srcId="{4D0D207C-3ADC-4396-98D7-5A4368EE9108}" destId="{FC53E88D-399A-4F5E-B8C5-46B1CB76F1B5}" srcOrd="0" destOrd="0" presId="urn:microsoft.com/office/officeart/2005/8/layout/hierarchy1"/>
    <dgm:cxn modelId="{7A87E330-DA35-412F-B895-590E064FB144}" type="presParOf" srcId="{4D0D207C-3ADC-4396-98D7-5A4368EE9108}" destId="{FBEB0507-18CB-437E-852E-75A22133F37A}" srcOrd="1" destOrd="0" presId="urn:microsoft.com/office/officeart/2005/8/layout/hierarchy1"/>
    <dgm:cxn modelId="{7602C338-1DCF-4122-9AA8-C7029D33807C}" type="presParOf" srcId="{86533A7C-D3C9-4FDC-9E4F-42718DC54A46}" destId="{4E9154C4-15BD-4C93-8243-E9C5A6E9A5DA}" srcOrd="1" destOrd="0" presId="urn:microsoft.com/office/officeart/2005/8/layout/hierarchy1"/>
    <dgm:cxn modelId="{CFC62CE3-26BD-4A35-B14D-31BE33B702B9}" type="presParOf" srcId="{4E9154C4-15BD-4C93-8243-E9C5A6E9A5DA}" destId="{5B30EB19-BC81-476C-9D06-BC63863DDA03}" srcOrd="0" destOrd="0" presId="urn:microsoft.com/office/officeart/2005/8/layout/hierarchy1"/>
    <dgm:cxn modelId="{18439CB2-68C7-4480-BEF2-001192D2C28E}" type="presParOf" srcId="{4E9154C4-15BD-4C93-8243-E9C5A6E9A5DA}" destId="{51D95D73-BB32-4E5B-B95C-8C4321CA3123}" srcOrd="1" destOrd="0" presId="urn:microsoft.com/office/officeart/2005/8/layout/hierarchy1"/>
    <dgm:cxn modelId="{032041D0-C53F-438B-9BAE-656BA246B4CA}" type="presParOf" srcId="{51D95D73-BB32-4E5B-B95C-8C4321CA3123}" destId="{536C01D5-D684-4581-A879-DEB4D5EADD6D}" srcOrd="0" destOrd="0" presId="urn:microsoft.com/office/officeart/2005/8/layout/hierarchy1"/>
    <dgm:cxn modelId="{FB5F31B8-FAEF-4665-BEBE-631FCFEA4DA2}" type="presParOf" srcId="{536C01D5-D684-4581-A879-DEB4D5EADD6D}" destId="{BD8401C8-D368-4802-B87F-CFF6496886A1}" srcOrd="0" destOrd="0" presId="urn:microsoft.com/office/officeart/2005/8/layout/hierarchy1"/>
    <dgm:cxn modelId="{2256F39D-83D4-4090-B9A9-34879C4CCA2A}" type="presParOf" srcId="{536C01D5-D684-4581-A879-DEB4D5EADD6D}" destId="{F763F9BA-A8CD-402E-B819-B4A669F4AA79}" srcOrd="1" destOrd="0" presId="urn:microsoft.com/office/officeart/2005/8/layout/hierarchy1"/>
    <dgm:cxn modelId="{9B4580FA-4125-4333-9A13-284FDBDE847E}" type="presParOf" srcId="{51D95D73-BB32-4E5B-B95C-8C4321CA3123}" destId="{F84BD6AC-D0E5-4C5C-9AA1-3AE38E69CD0C}" srcOrd="1" destOrd="0" presId="urn:microsoft.com/office/officeart/2005/8/layout/hierarchy1"/>
    <dgm:cxn modelId="{54448400-1BD3-4696-B500-406C9CF40A30}" type="presParOf" srcId="{2F583AB9-B74F-4262-9EEE-D35EE252D064}" destId="{F933F434-493A-4227-8760-2A149659BDED}" srcOrd="2" destOrd="0" presId="urn:microsoft.com/office/officeart/2005/8/layout/hierarchy1"/>
    <dgm:cxn modelId="{40CD6406-1E17-4A72-A1E5-E2EBD78AB525}" type="presParOf" srcId="{2F583AB9-B74F-4262-9EEE-D35EE252D064}" destId="{3D9ED563-E291-4CB4-AD44-C7B48E10CD96}" srcOrd="3" destOrd="0" presId="urn:microsoft.com/office/officeart/2005/8/layout/hierarchy1"/>
    <dgm:cxn modelId="{E81FC1E1-54F5-4D06-864A-3302EDFA8112}" type="presParOf" srcId="{3D9ED563-E291-4CB4-AD44-C7B48E10CD96}" destId="{52C3C59F-ABCB-4EC1-BE07-A80B21672BAF}" srcOrd="0" destOrd="0" presId="urn:microsoft.com/office/officeart/2005/8/layout/hierarchy1"/>
    <dgm:cxn modelId="{BF930A6C-8957-446F-95B3-0C759765CA4A}" type="presParOf" srcId="{52C3C59F-ABCB-4EC1-BE07-A80B21672BAF}" destId="{26BDD23E-F48A-4D00-9A84-6FD3BDFF6D09}" srcOrd="0" destOrd="0" presId="urn:microsoft.com/office/officeart/2005/8/layout/hierarchy1"/>
    <dgm:cxn modelId="{8E7F9E73-2D59-4D83-BC01-36F5D4D0D82D}" type="presParOf" srcId="{52C3C59F-ABCB-4EC1-BE07-A80B21672BAF}" destId="{B6C8B6E5-2B64-4BC8-802C-FDAC71004E52}" srcOrd="1" destOrd="0" presId="urn:microsoft.com/office/officeart/2005/8/layout/hierarchy1"/>
    <dgm:cxn modelId="{7E58CBCA-56C7-4861-8391-FDA2CC6C309D}" type="presParOf" srcId="{3D9ED563-E291-4CB4-AD44-C7B48E10CD96}" destId="{62C8EF10-B634-4F0A-BE69-EBEF0D9B4953}" srcOrd="1" destOrd="0" presId="urn:microsoft.com/office/officeart/2005/8/layout/hierarchy1"/>
    <dgm:cxn modelId="{980DAD83-1F87-415D-994D-599F83D3EB1C}" type="presParOf" srcId="{62C8EF10-B634-4F0A-BE69-EBEF0D9B4953}" destId="{9B4505AA-4BCD-4DA7-BBC8-A23039ABE80E}" srcOrd="0" destOrd="0" presId="urn:microsoft.com/office/officeart/2005/8/layout/hierarchy1"/>
    <dgm:cxn modelId="{042651F9-BEC0-4EA8-8253-216106A596E4}" type="presParOf" srcId="{62C8EF10-B634-4F0A-BE69-EBEF0D9B4953}" destId="{C7A7BDC4-E993-4E87-94F0-C1D6DF7BE072}" srcOrd="1" destOrd="0" presId="urn:microsoft.com/office/officeart/2005/8/layout/hierarchy1"/>
    <dgm:cxn modelId="{4E9CB28E-59F3-42EB-B9A2-2567375FD72C}" type="presParOf" srcId="{C7A7BDC4-E993-4E87-94F0-C1D6DF7BE072}" destId="{1169BB65-5044-410F-B472-DBC3580D32CB}" srcOrd="0" destOrd="0" presId="urn:microsoft.com/office/officeart/2005/8/layout/hierarchy1"/>
    <dgm:cxn modelId="{7D086254-3F91-4F79-BCC4-7687EF80FCD7}" type="presParOf" srcId="{1169BB65-5044-410F-B472-DBC3580D32CB}" destId="{37D390CB-7816-4753-A52B-09637F9A2842}" srcOrd="0" destOrd="0" presId="urn:microsoft.com/office/officeart/2005/8/layout/hierarchy1"/>
    <dgm:cxn modelId="{542EAF25-EE75-432E-B6B8-B658F60811C9}" type="presParOf" srcId="{1169BB65-5044-410F-B472-DBC3580D32CB}" destId="{4D7C0CFA-A665-4D5E-AEC2-D18642C2775C}" srcOrd="1" destOrd="0" presId="urn:microsoft.com/office/officeart/2005/8/layout/hierarchy1"/>
    <dgm:cxn modelId="{ADD1C883-CC2E-42C4-B4C9-0F33C3434084}" type="presParOf" srcId="{C7A7BDC4-E993-4E87-94F0-C1D6DF7BE072}" destId="{1BA149DD-B305-41A5-96C4-2DDEED4503A9}" srcOrd="1" destOrd="0" presId="urn:microsoft.com/office/officeart/2005/8/layout/hierarchy1"/>
    <dgm:cxn modelId="{87B6BCE5-F748-4CB8-888B-FC9108133E9B}" type="presParOf" srcId="{DB0E5057-FDD6-4A86-A539-4351A235FC9A}" destId="{BADED863-907E-4A6F-BE53-A0EB5C3F4E60}" srcOrd="2" destOrd="0" presId="urn:microsoft.com/office/officeart/2005/8/layout/hierarchy1"/>
    <dgm:cxn modelId="{38652423-B447-4C21-B219-F11992F0AC1B}" type="presParOf" srcId="{DB0E5057-FDD6-4A86-A539-4351A235FC9A}" destId="{3E888AE8-4593-4C12-B55A-C615EE8386CA}" srcOrd="3" destOrd="0" presId="urn:microsoft.com/office/officeart/2005/8/layout/hierarchy1"/>
    <dgm:cxn modelId="{FF9B45FE-4736-4436-8944-12CB8612365A}" type="presParOf" srcId="{3E888AE8-4593-4C12-B55A-C615EE8386CA}" destId="{11CE2BB2-39D6-4E55-B41A-016AC6386B34}" srcOrd="0" destOrd="0" presId="urn:microsoft.com/office/officeart/2005/8/layout/hierarchy1"/>
    <dgm:cxn modelId="{D0DE6950-7AF2-437F-8CE9-8AB1325F355A}" type="presParOf" srcId="{11CE2BB2-39D6-4E55-B41A-016AC6386B34}" destId="{BC4BB7A4-6312-4D3A-9287-6B6595CA6690}" srcOrd="0" destOrd="0" presId="urn:microsoft.com/office/officeart/2005/8/layout/hierarchy1"/>
    <dgm:cxn modelId="{BCC088E4-1461-4DEE-8BD9-16295A816B49}" type="presParOf" srcId="{11CE2BB2-39D6-4E55-B41A-016AC6386B34}" destId="{B68D4B76-DEB8-4223-A7FF-22E958512A38}" srcOrd="1" destOrd="0" presId="urn:microsoft.com/office/officeart/2005/8/layout/hierarchy1"/>
    <dgm:cxn modelId="{5789551B-F156-4338-BA32-2F343974B688}" type="presParOf" srcId="{3E888AE8-4593-4C12-B55A-C615EE8386CA}" destId="{4420D853-42C4-426C-98F1-17A483EF086C}" srcOrd="1" destOrd="0" presId="urn:microsoft.com/office/officeart/2005/8/layout/hierarchy1"/>
    <dgm:cxn modelId="{0B5E4C30-900D-41FA-9FB7-F07627C25AB5}" type="presParOf" srcId="{4420D853-42C4-426C-98F1-17A483EF086C}" destId="{06DC8E89-E256-4D70-9B37-2B77725A87B8}" srcOrd="0" destOrd="0" presId="urn:microsoft.com/office/officeart/2005/8/layout/hierarchy1"/>
    <dgm:cxn modelId="{3A861195-6C79-4CEB-BA3E-69FC0B0C0ADC}" type="presParOf" srcId="{4420D853-42C4-426C-98F1-17A483EF086C}" destId="{3BDB973E-5065-4033-87A9-53477551FE6C}" srcOrd="1" destOrd="0" presId="urn:microsoft.com/office/officeart/2005/8/layout/hierarchy1"/>
    <dgm:cxn modelId="{ED2D2D94-A9E1-4442-B550-7E31F7A3F66B}" type="presParOf" srcId="{3BDB973E-5065-4033-87A9-53477551FE6C}" destId="{BE6C0FF8-8B91-486B-BDC2-7CDB456E0C52}" srcOrd="0" destOrd="0" presId="urn:microsoft.com/office/officeart/2005/8/layout/hierarchy1"/>
    <dgm:cxn modelId="{DFF7057E-BDB4-4915-9A0F-62EC6BAF9228}" type="presParOf" srcId="{BE6C0FF8-8B91-486B-BDC2-7CDB456E0C52}" destId="{09E20DC3-2041-4D4B-ABA0-027CFA455041}" srcOrd="0" destOrd="0" presId="urn:microsoft.com/office/officeart/2005/8/layout/hierarchy1"/>
    <dgm:cxn modelId="{896E867F-849C-45CB-84C7-B93EF90D0BFD}" type="presParOf" srcId="{BE6C0FF8-8B91-486B-BDC2-7CDB456E0C52}" destId="{52A5FC6E-6677-475C-95C7-58DC12FF11D4}" srcOrd="1" destOrd="0" presId="urn:microsoft.com/office/officeart/2005/8/layout/hierarchy1"/>
    <dgm:cxn modelId="{C83B7C94-1F91-4EAF-BE08-D8EF5176811D}" type="presParOf" srcId="{3BDB973E-5065-4033-87A9-53477551FE6C}" destId="{4E1C00B9-19B6-4A7A-BEE1-04A67D0EE9E8}" srcOrd="1" destOrd="0" presId="urn:microsoft.com/office/officeart/2005/8/layout/hierarchy1"/>
    <dgm:cxn modelId="{0D89A1BA-3166-4B4F-8D8B-A6F0235B904A}" type="presParOf" srcId="{4E1C00B9-19B6-4A7A-BEE1-04A67D0EE9E8}" destId="{A2B22705-1612-41E1-B032-3337BCB4A6C8}" srcOrd="0" destOrd="0" presId="urn:microsoft.com/office/officeart/2005/8/layout/hierarchy1"/>
    <dgm:cxn modelId="{E3AE4018-7C3E-4881-8AE1-6AC7F7800C90}" type="presParOf" srcId="{4E1C00B9-19B6-4A7A-BEE1-04A67D0EE9E8}" destId="{173D05C8-51AD-4EB6-93A2-1D7E45C62F92}" srcOrd="1" destOrd="0" presId="urn:microsoft.com/office/officeart/2005/8/layout/hierarchy1"/>
    <dgm:cxn modelId="{00AD8794-F0E7-4E0A-9658-5BE376C84D1B}" type="presParOf" srcId="{173D05C8-51AD-4EB6-93A2-1D7E45C62F92}" destId="{F333A80C-0FBA-4F05-9D2B-E4D37DF0FEEC}" srcOrd="0" destOrd="0" presId="urn:microsoft.com/office/officeart/2005/8/layout/hierarchy1"/>
    <dgm:cxn modelId="{C7380205-0B1B-4314-8E45-8A91ADE88EA4}" type="presParOf" srcId="{F333A80C-0FBA-4F05-9D2B-E4D37DF0FEEC}" destId="{3AE86AA0-2F00-4862-8E42-0BE8CAFE5262}" srcOrd="0" destOrd="0" presId="urn:microsoft.com/office/officeart/2005/8/layout/hierarchy1"/>
    <dgm:cxn modelId="{64596115-257C-49B5-8967-30D44E11FB42}" type="presParOf" srcId="{F333A80C-0FBA-4F05-9D2B-E4D37DF0FEEC}" destId="{5862F99B-6A44-4DA8-B08E-0188E684D66C}" srcOrd="1" destOrd="0" presId="urn:microsoft.com/office/officeart/2005/8/layout/hierarchy1"/>
    <dgm:cxn modelId="{09CA1582-ECAF-4FAB-AE0F-239E7F0DBD1B}" type="presParOf" srcId="{173D05C8-51AD-4EB6-93A2-1D7E45C62F92}" destId="{12EC1537-3E3D-492B-86A3-3ABF6439A8EC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7EF21B-0476-49FE-8339-EBC31F053482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53391BB-A5DD-4B3B-B49E-948A60F41BA8}">
      <dgm:prSet phldrT="[Текст]" custT="1"/>
      <dgm:spPr/>
      <dgm:t>
        <a:bodyPr/>
        <a:lstStyle/>
        <a:p>
          <a:r>
            <a:rPr lang="ru-RU" sz="1800" b="1" dirty="0"/>
            <a:t>Традиционное доение</a:t>
          </a:r>
        </a:p>
      </dgm:t>
    </dgm:pt>
    <dgm:pt modelId="{8356909B-8C55-4513-9711-8580D9791D1F}" type="parTrans" cxnId="{37B8B62D-69A5-4573-9903-A526F56D3112}">
      <dgm:prSet/>
      <dgm:spPr/>
      <dgm:t>
        <a:bodyPr/>
        <a:lstStyle/>
        <a:p>
          <a:endParaRPr lang="ru-RU"/>
        </a:p>
      </dgm:t>
    </dgm:pt>
    <dgm:pt modelId="{DACAD00E-C622-4881-8F28-08A38FEB6911}" type="sibTrans" cxnId="{37B8B62D-69A5-4573-9903-A526F56D3112}">
      <dgm:prSet/>
      <dgm:spPr/>
      <dgm:t>
        <a:bodyPr/>
        <a:lstStyle/>
        <a:p>
          <a:endParaRPr lang="ru-RU"/>
        </a:p>
      </dgm:t>
    </dgm:pt>
    <dgm:pt modelId="{DBCBE041-2180-46E6-A4D7-291A20848EED}">
      <dgm:prSet phldrT="[Текст]" custT="1"/>
      <dgm:spPr/>
      <dgm:t>
        <a:bodyPr/>
        <a:lstStyle/>
        <a:p>
          <a:r>
            <a:rPr lang="ru-RU" sz="1800" b="1" dirty="0"/>
            <a:t>Фиксированные промежутки времени</a:t>
          </a:r>
        </a:p>
      </dgm:t>
    </dgm:pt>
    <dgm:pt modelId="{CB0C0A5E-6419-46B1-849A-3A2A219FD630}" type="parTrans" cxnId="{DEA372DA-0397-4617-9F3D-C43654EFB78B}">
      <dgm:prSet/>
      <dgm:spPr/>
      <dgm:t>
        <a:bodyPr/>
        <a:lstStyle/>
        <a:p>
          <a:endParaRPr lang="ru-RU"/>
        </a:p>
      </dgm:t>
    </dgm:pt>
    <dgm:pt modelId="{19D77B48-BEA8-400B-8B1D-0F02E921663E}" type="sibTrans" cxnId="{DEA372DA-0397-4617-9F3D-C43654EFB78B}">
      <dgm:prSet/>
      <dgm:spPr/>
      <dgm:t>
        <a:bodyPr/>
        <a:lstStyle/>
        <a:p>
          <a:endParaRPr lang="ru-RU"/>
        </a:p>
      </dgm:t>
    </dgm:pt>
    <dgm:pt modelId="{B89CF75A-CF3B-4739-A18F-1D107FE9AEE0}">
      <dgm:prSet phldrT="[Текст]" custT="1"/>
      <dgm:spPr/>
      <dgm:t>
        <a:bodyPr/>
        <a:lstStyle/>
        <a:p>
          <a:r>
            <a:rPr lang="ru-RU" sz="1800" b="1" dirty="0"/>
            <a:t>Доильные залы (елочка, параллель, карусель)</a:t>
          </a:r>
        </a:p>
      </dgm:t>
    </dgm:pt>
    <dgm:pt modelId="{006D52D6-A7BC-4B77-BA22-2135DB4E5C0C}" type="parTrans" cxnId="{0D1F1E18-2CBD-467D-82DF-B78A85D26245}">
      <dgm:prSet/>
      <dgm:spPr/>
      <dgm:t>
        <a:bodyPr/>
        <a:lstStyle/>
        <a:p>
          <a:endParaRPr lang="ru-RU"/>
        </a:p>
      </dgm:t>
    </dgm:pt>
    <dgm:pt modelId="{D767C365-3781-4A4B-B052-190F70CB6C0B}" type="sibTrans" cxnId="{0D1F1E18-2CBD-467D-82DF-B78A85D26245}">
      <dgm:prSet/>
      <dgm:spPr/>
      <dgm:t>
        <a:bodyPr/>
        <a:lstStyle/>
        <a:p>
          <a:endParaRPr lang="ru-RU"/>
        </a:p>
      </dgm:t>
    </dgm:pt>
    <dgm:pt modelId="{2FC2E3BE-A25F-45E4-8636-9688EEC284E4}">
      <dgm:prSet custT="1"/>
      <dgm:spPr/>
      <dgm:t>
        <a:bodyPr/>
        <a:lstStyle/>
        <a:p>
          <a:r>
            <a:rPr lang="ru-RU" sz="1800" b="1" dirty="0"/>
            <a:t>Доение группами</a:t>
          </a:r>
        </a:p>
      </dgm:t>
    </dgm:pt>
    <dgm:pt modelId="{76890CE7-4E90-4689-8D11-74FA5E361C5D}" type="parTrans" cxnId="{E771B9C6-141C-4174-B8C2-7108E7B75379}">
      <dgm:prSet/>
      <dgm:spPr/>
      <dgm:t>
        <a:bodyPr/>
        <a:lstStyle/>
        <a:p>
          <a:endParaRPr lang="ru-RU"/>
        </a:p>
      </dgm:t>
    </dgm:pt>
    <dgm:pt modelId="{646814C7-3517-4CFC-AD2E-DDA990C5CDB0}" type="sibTrans" cxnId="{E771B9C6-141C-4174-B8C2-7108E7B75379}">
      <dgm:prSet/>
      <dgm:spPr/>
      <dgm:t>
        <a:bodyPr/>
        <a:lstStyle/>
        <a:p>
          <a:endParaRPr lang="ru-RU"/>
        </a:p>
      </dgm:t>
    </dgm:pt>
    <dgm:pt modelId="{3DBC0B62-2FAF-4E9F-B908-E30CC55B7AEE}" type="pres">
      <dgm:prSet presAssocID="{7E7EF21B-0476-49FE-8339-EBC31F053482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CF04DCE-D16E-48DF-A148-8F144ADFB322}" type="pres">
      <dgm:prSet presAssocID="{753391BB-A5DD-4B3B-B49E-948A60F41BA8}" presName="hierRoot1" presStyleCnt="0"/>
      <dgm:spPr/>
    </dgm:pt>
    <dgm:pt modelId="{DB3EF739-4D89-4F28-8245-A49743D5806B}" type="pres">
      <dgm:prSet presAssocID="{753391BB-A5DD-4B3B-B49E-948A60F41BA8}" presName="composite" presStyleCnt="0"/>
      <dgm:spPr/>
    </dgm:pt>
    <dgm:pt modelId="{C016483B-D0F3-403C-9E7B-8D4AE33E01F7}" type="pres">
      <dgm:prSet presAssocID="{753391BB-A5DD-4B3B-B49E-948A60F41BA8}" presName="background" presStyleLbl="node0" presStyleIdx="0" presStyleCnt="1"/>
      <dgm:spPr>
        <a:solidFill>
          <a:schemeClr val="accent2"/>
        </a:solidFill>
      </dgm:spPr>
    </dgm:pt>
    <dgm:pt modelId="{EDEDF4AE-898B-4B03-ABB6-144BFA3E724E}" type="pres">
      <dgm:prSet presAssocID="{753391BB-A5DD-4B3B-B49E-948A60F41BA8}" presName="text" presStyleLbl="fgAcc0" presStyleIdx="0" presStyleCnt="1" custScaleX="188374">
        <dgm:presLayoutVars>
          <dgm:chPref val="3"/>
        </dgm:presLayoutVars>
      </dgm:prSet>
      <dgm:spPr/>
    </dgm:pt>
    <dgm:pt modelId="{85086021-3E93-4C16-98ED-B17B4209D06D}" type="pres">
      <dgm:prSet presAssocID="{753391BB-A5DD-4B3B-B49E-948A60F41BA8}" presName="hierChild2" presStyleCnt="0"/>
      <dgm:spPr/>
    </dgm:pt>
    <dgm:pt modelId="{0B11BCC1-C669-4A98-80B8-CAAAA335F3E8}" type="pres">
      <dgm:prSet presAssocID="{CB0C0A5E-6419-46B1-849A-3A2A219FD630}" presName="Name10" presStyleLbl="parChTrans1D2" presStyleIdx="0" presStyleCnt="1"/>
      <dgm:spPr/>
    </dgm:pt>
    <dgm:pt modelId="{81BA3D7C-700B-4624-BB11-0FA8D8DAA430}" type="pres">
      <dgm:prSet presAssocID="{DBCBE041-2180-46E6-A4D7-291A20848EED}" presName="hierRoot2" presStyleCnt="0"/>
      <dgm:spPr/>
    </dgm:pt>
    <dgm:pt modelId="{76809533-3FED-434F-BC14-AD1F0037A4B6}" type="pres">
      <dgm:prSet presAssocID="{DBCBE041-2180-46E6-A4D7-291A20848EED}" presName="composite2" presStyleCnt="0"/>
      <dgm:spPr/>
    </dgm:pt>
    <dgm:pt modelId="{DEA8840A-77E6-44EA-A43B-79AD7D75F7F8}" type="pres">
      <dgm:prSet presAssocID="{DBCBE041-2180-46E6-A4D7-291A20848EED}" presName="background2" presStyleLbl="node2" presStyleIdx="0" presStyleCnt="1"/>
      <dgm:spPr>
        <a:solidFill>
          <a:schemeClr val="accent2"/>
        </a:solidFill>
      </dgm:spPr>
    </dgm:pt>
    <dgm:pt modelId="{C0B82A81-BC74-41E2-9B8B-44707E1EAAFB}" type="pres">
      <dgm:prSet presAssocID="{DBCBE041-2180-46E6-A4D7-291A20848EED}" presName="text2" presStyleLbl="fgAcc2" presStyleIdx="0" presStyleCnt="1" custScaleX="185595">
        <dgm:presLayoutVars>
          <dgm:chPref val="3"/>
        </dgm:presLayoutVars>
      </dgm:prSet>
      <dgm:spPr/>
    </dgm:pt>
    <dgm:pt modelId="{24F389E6-7CE6-4DCC-9511-EA09AFF156D3}" type="pres">
      <dgm:prSet presAssocID="{DBCBE041-2180-46E6-A4D7-291A20848EED}" presName="hierChild3" presStyleCnt="0"/>
      <dgm:spPr/>
    </dgm:pt>
    <dgm:pt modelId="{210BB976-D043-446E-9F55-990290542CFE}" type="pres">
      <dgm:prSet presAssocID="{006D52D6-A7BC-4B77-BA22-2135DB4E5C0C}" presName="Name17" presStyleLbl="parChTrans1D3" presStyleIdx="0" presStyleCnt="1"/>
      <dgm:spPr/>
    </dgm:pt>
    <dgm:pt modelId="{CCFA38BA-2582-43C6-A988-EA097A3A8354}" type="pres">
      <dgm:prSet presAssocID="{B89CF75A-CF3B-4739-A18F-1D107FE9AEE0}" presName="hierRoot3" presStyleCnt="0"/>
      <dgm:spPr/>
    </dgm:pt>
    <dgm:pt modelId="{97A97864-813D-405D-A01E-4DADCC1705D9}" type="pres">
      <dgm:prSet presAssocID="{B89CF75A-CF3B-4739-A18F-1D107FE9AEE0}" presName="composite3" presStyleCnt="0"/>
      <dgm:spPr/>
    </dgm:pt>
    <dgm:pt modelId="{E2F1240C-6631-4F88-9C58-E0B687C94DB9}" type="pres">
      <dgm:prSet presAssocID="{B89CF75A-CF3B-4739-A18F-1D107FE9AEE0}" presName="background3" presStyleLbl="node3" presStyleIdx="0" presStyleCnt="1"/>
      <dgm:spPr>
        <a:solidFill>
          <a:schemeClr val="accent2"/>
        </a:solidFill>
      </dgm:spPr>
    </dgm:pt>
    <dgm:pt modelId="{FC96E8D6-7944-4DD2-852F-1063A02DAA22}" type="pres">
      <dgm:prSet presAssocID="{B89CF75A-CF3B-4739-A18F-1D107FE9AEE0}" presName="text3" presStyleLbl="fgAcc3" presStyleIdx="0" presStyleCnt="1" custScaleX="185595">
        <dgm:presLayoutVars>
          <dgm:chPref val="3"/>
        </dgm:presLayoutVars>
      </dgm:prSet>
      <dgm:spPr/>
    </dgm:pt>
    <dgm:pt modelId="{AABF48F5-214B-4A40-8CA9-1FAB773D58DA}" type="pres">
      <dgm:prSet presAssocID="{B89CF75A-CF3B-4739-A18F-1D107FE9AEE0}" presName="hierChild4" presStyleCnt="0"/>
      <dgm:spPr/>
    </dgm:pt>
    <dgm:pt modelId="{3F31D461-5049-4C6D-886D-2A630BFB8B4E}" type="pres">
      <dgm:prSet presAssocID="{76890CE7-4E90-4689-8D11-74FA5E361C5D}" presName="Name23" presStyleLbl="parChTrans1D4" presStyleIdx="0" presStyleCnt="1"/>
      <dgm:spPr/>
    </dgm:pt>
    <dgm:pt modelId="{1CC0DA79-8F7A-4C5B-8681-65097D76762F}" type="pres">
      <dgm:prSet presAssocID="{2FC2E3BE-A25F-45E4-8636-9688EEC284E4}" presName="hierRoot4" presStyleCnt="0"/>
      <dgm:spPr/>
    </dgm:pt>
    <dgm:pt modelId="{3044DA7A-4CF9-45DD-9ABE-921087221053}" type="pres">
      <dgm:prSet presAssocID="{2FC2E3BE-A25F-45E4-8636-9688EEC284E4}" presName="composite4" presStyleCnt="0"/>
      <dgm:spPr/>
    </dgm:pt>
    <dgm:pt modelId="{22421052-C946-4861-937B-A1084ACD0751}" type="pres">
      <dgm:prSet presAssocID="{2FC2E3BE-A25F-45E4-8636-9688EEC284E4}" presName="background4" presStyleLbl="node4" presStyleIdx="0" presStyleCnt="1"/>
      <dgm:spPr>
        <a:solidFill>
          <a:schemeClr val="accent2"/>
        </a:solidFill>
      </dgm:spPr>
    </dgm:pt>
    <dgm:pt modelId="{3BD40E06-974F-4B64-8478-6E09F73244F9}" type="pres">
      <dgm:prSet presAssocID="{2FC2E3BE-A25F-45E4-8636-9688EEC284E4}" presName="text4" presStyleLbl="fgAcc4" presStyleIdx="0" presStyleCnt="1" custScaleX="180012" custLinFactNeighborY="226">
        <dgm:presLayoutVars>
          <dgm:chPref val="3"/>
        </dgm:presLayoutVars>
      </dgm:prSet>
      <dgm:spPr/>
    </dgm:pt>
    <dgm:pt modelId="{2E743358-E9BD-49B4-A368-DD64C095B681}" type="pres">
      <dgm:prSet presAssocID="{2FC2E3BE-A25F-45E4-8636-9688EEC284E4}" presName="hierChild5" presStyleCnt="0"/>
      <dgm:spPr/>
    </dgm:pt>
  </dgm:ptLst>
  <dgm:cxnLst>
    <dgm:cxn modelId="{45242816-A12A-4EC4-86CF-2090FB9A11C3}" type="presOf" srcId="{DBCBE041-2180-46E6-A4D7-291A20848EED}" destId="{C0B82A81-BC74-41E2-9B8B-44707E1EAAFB}" srcOrd="0" destOrd="0" presId="urn:microsoft.com/office/officeart/2005/8/layout/hierarchy1"/>
    <dgm:cxn modelId="{0D1F1E18-2CBD-467D-82DF-B78A85D26245}" srcId="{DBCBE041-2180-46E6-A4D7-291A20848EED}" destId="{B89CF75A-CF3B-4739-A18F-1D107FE9AEE0}" srcOrd="0" destOrd="0" parTransId="{006D52D6-A7BC-4B77-BA22-2135DB4E5C0C}" sibTransId="{D767C365-3781-4A4B-B052-190F70CB6C0B}"/>
    <dgm:cxn modelId="{37B8B62D-69A5-4573-9903-A526F56D3112}" srcId="{7E7EF21B-0476-49FE-8339-EBC31F053482}" destId="{753391BB-A5DD-4B3B-B49E-948A60F41BA8}" srcOrd="0" destOrd="0" parTransId="{8356909B-8C55-4513-9711-8580D9791D1F}" sibTransId="{DACAD00E-C622-4881-8F28-08A38FEB6911}"/>
    <dgm:cxn modelId="{78079733-0825-4772-A38A-85BD00526513}" type="presOf" srcId="{753391BB-A5DD-4B3B-B49E-948A60F41BA8}" destId="{EDEDF4AE-898B-4B03-ABB6-144BFA3E724E}" srcOrd="0" destOrd="0" presId="urn:microsoft.com/office/officeart/2005/8/layout/hierarchy1"/>
    <dgm:cxn modelId="{A9D5B043-7433-45F4-92D7-F7BBE4160864}" type="presOf" srcId="{7E7EF21B-0476-49FE-8339-EBC31F053482}" destId="{3DBC0B62-2FAF-4E9F-B908-E30CC55B7AEE}" srcOrd="0" destOrd="0" presId="urn:microsoft.com/office/officeart/2005/8/layout/hierarchy1"/>
    <dgm:cxn modelId="{CE2DB152-CBB4-4FCF-94A3-C965431D1F3C}" type="presOf" srcId="{B89CF75A-CF3B-4739-A18F-1D107FE9AEE0}" destId="{FC96E8D6-7944-4DD2-852F-1063A02DAA22}" srcOrd="0" destOrd="0" presId="urn:microsoft.com/office/officeart/2005/8/layout/hierarchy1"/>
    <dgm:cxn modelId="{2D21AD86-2B65-470B-80CA-D4B0DA788099}" type="presOf" srcId="{76890CE7-4E90-4689-8D11-74FA5E361C5D}" destId="{3F31D461-5049-4C6D-886D-2A630BFB8B4E}" srcOrd="0" destOrd="0" presId="urn:microsoft.com/office/officeart/2005/8/layout/hierarchy1"/>
    <dgm:cxn modelId="{6469B78B-387C-4899-81C7-82B3174F362E}" type="presOf" srcId="{2FC2E3BE-A25F-45E4-8636-9688EEC284E4}" destId="{3BD40E06-974F-4B64-8478-6E09F73244F9}" srcOrd="0" destOrd="0" presId="urn:microsoft.com/office/officeart/2005/8/layout/hierarchy1"/>
    <dgm:cxn modelId="{E1CD4AA6-4BA0-4A89-9938-DD25B812C3EB}" type="presOf" srcId="{006D52D6-A7BC-4B77-BA22-2135DB4E5C0C}" destId="{210BB976-D043-446E-9F55-990290542CFE}" srcOrd="0" destOrd="0" presId="urn:microsoft.com/office/officeart/2005/8/layout/hierarchy1"/>
    <dgm:cxn modelId="{E771B9C6-141C-4174-B8C2-7108E7B75379}" srcId="{B89CF75A-CF3B-4739-A18F-1D107FE9AEE0}" destId="{2FC2E3BE-A25F-45E4-8636-9688EEC284E4}" srcOrd="0" destOrd="0" parTransId="{76890CE7-4E90-4689-8D11-74FA5E361C5D}" sibTransId="{646814C7-3517-4CFC-AD2E-DDA990C5CDB0}"/>
    <dgm:cxn modelId="{DEA372DA-0397-4617-9F3D-C43654EFB78B}" srcId="{753391BB-A5DD-4B3B-B49E-948A60F41BA8}" destId="{DBCBE041-2180-46E6-A4D7-291A20848EED}" srcOrd="0" destOrd="0" parTransId="{CB0C0A5E-6419-46B1-849A-3A2A219FD630}" sibTransId="{19D77B48-BEA8-400B-8B1D-0F02E921663E}"/>
    <dgm:cxn modelId="{566591F3-CD5E-4A3F-909C-F71995C0BCEC}" type="presOf" srcId="{CB0C0A5E-6419-46B1-849A-3A2A219FD630}" destId="{0B11BCC1-C669-4A98-80B8-CAAAA335F3E8}" srcOrd="0" destOrd="0" presId="urn:microsoft.com/office/officeart/2005/8/layout/hierarchy1"/>
    <dgm:cxn modelId="{DE64F1A5-3720-4549-BFE5-0BEDA0C611CA}" type="presParOf" srcId="{3DBC0B62-2FAF-4E9F-B908-E30CC55B7AEE}" destId="{1CF04DCE-D16E-48DF-A148-8F144ADFB322}" srcOrd="0" destOrd="0" presId="urn:microsoft.com/office/officeart/2005/8/layout/hierarchy1"/>
    <dgm:cxn modelId="{C00243E9-8260-4DC2-9627-6BB2906B9A81}" type="presParOf" srcId="{1CF04DCE-D16E-48DF-A148-8F144ADFB322}" destId="{DB3EF739-4D89-4F28-8245-A49743D5806B}" srcOrd="0" destOrd="0" presId="urn:microsoft.com/office/officeart/2005/8/layout/hierarchy1"/>
    <dgm:cxn modelId="{EA5FC52C-20E5-489E-9BEC-B08E888196C6}" type="presParOf" srcId="{DB3EF739-4D89-4F28-8245-A49743D5806B}" destId="{C016483B-D0F3-403C-9E7B-8D4AE33E01F7}" srcOrd="0" destOrd="0" presId="urn:microsoft.com/office/officeart/2005/8/layout/hierarchy1"/>
    <dgm:cxn modelId="{EE7B81DD-CF28-41B9-96F7-8E8D86BD9B58}" type="presParOf" srcId="{DB3EF739-4D89-4F28-8245-A49743D5806B}" destId="{EDEDF4AE-898B-4B03-ABB6-144BFA3E724E}" srcOrd="1" destOrd="0" presId="urn:microsoft.com/office/officeart/2005/8/layout/hierarchy1"/>
    <dgm:cxn modelId="{0418D6D1-D9A0-4C3B-BEBE-E5A9DCE4E1F9}" type="presParOf" srcId="{1CF04DCE-D16E-48DF-A148-8F144ADFB322}" destId="{85086021-3E93-4C16-98ED-B17B4209D06D}" srcOrd="1" destOrd="0" presId="urn:microsoft.com/office/officeart/2005/8/layout/hierarchy1"/>
    <dgm:cxn modelId="{2622E9CA-9E52-44F2-92D4-1852B0D5D09F}" type="presParOf" srcId="{85086021-3E93-4C16-98ED-B17B4209D06D}" destId="{0B11BCC1-C669-4A98-80B8-CAAAA335F3E8}" srcOrd="0" destOrd="0" presId="urn:microsoft.com/office/officeart/2005/8/layout/hierarchy1"/>
    <dgm:cxn modelId="{156B01CE-A98D-4AD2-8B7E-9EB86F245B86}" type="presParOf" srcId="{85086021-3E93-4C16-98ED-B17B4209D06D}" destId="{81BA3D7C-700B-4624-BB11-0FA8D8DAA430}" srcOrd="1" destOrd="0" presId="urn:microsoft.com/office/officeart/2005/8/layout/hierarchy1"/>
    <dgm:cxn modelId="{4E66BB2D-70FA-41B7-9BE2-F7A9BADDAD3F}" type="presParOf" srcId="{81BA3D7C-700B-4624-BB11-0FA8D8DAA430}" destId="{76809533-3FED-434F-BC14-AD1F0037A4B6}" srcOrd="0" destOrd="0" presId="urn:microsoft.com/office/officeart/2005/8/layout/hierarchy1"/>
    <dgm:cxn modelId="{89BDF5F4-0613-49B7-B5CB-5C921410F82D}" type="presParOf" srcId="{76809533-3FED-434F-BC14-AD1F0037A4B6}" destId="{DEA8840A-77E6-44EA-A43B-79AD7D75F7F8}" srcOrd="0" destOrd="0" presId="urn:microsoft.com/office/officeart/2005/8/layout/hierarchy1"/>
    <dgm:cxn modelId="{2FF3BB7E-7F0D-41F3-AC46-A04D8547F9EE}" type="presParOf" srcId="{76809533-3FED-434F-BC14-AD1F0037A4B6}" destId="{C0B82A81-BC74-41E2-9B8B-44707E1EAAFB}" srcOrd="1" destOrd="0" presId="urn:microsoft.com/office/officeart/2005/8/layout/hierarchy1"/>
    <dgm:cxn modelId="{C65AB756-F23D-4A77-A6B8-E5C0679D4618}" type="presParOf" srcId="{81BA3D7C-700B-4624-BB11-0FA8D8DAA430}" destId="{24F389E6-7CE6-4DCC-9511-EA09AFF156D3}" srcOrd="1" destOrd="0" presId="urn:microsoft.com/office/officeart/2005/8/layout/hierarchy1"/>
    <dgm:cxn modelId="{685050A6-B8FE-442A-8FAA-7C15C1E6DB38}" type="presParOf" srcId="{24F389E6-7CE6-4DCC-9511-EA09AFF156D3}" destId="{210BB976-D043-446E-9F55-990290542CFE}" srcOrd="0" destOrd="0" presId="urn:microsoft.com/office/officeart/2005/8/layout/hierarchy1"/>
    <dgm:cxn modelId="{E1AA6283-D579-4EC2-B9D0-AF7FE9F08AF6}" type="presParOf" srcId="{24F389E6-7CE6-4DCC-9511-EA09AFF156D3}" destId="{CCFA38BA-2582-43C6-A988-EA097A3A8354}" srcOrd="1" destOrd="0" presId="urn:microsoft.com/office/officeart/2005/8/layout/hierarchy1"/>
    <dgm:cxn modelId="{C77D873A-BA9F-47F4-8AFD-9C104E4EDC94}" type="presParOf" srcId="{CCFA38BA-2582-43C6-A988-EA097A3A8354}" destId="{97A97864-813D-405D-A01E-4DADCC1705D9}" srcOrd="0" destOrd="0" presId="urn:microsoft.com/office/officeart/2005/8/layout/hierarchy1"/>
    <dgm:cxn modelId="{CE5724F5-6A11-4DD0-ABA0-669B3D904649}" type="presParOf" srcId="{97A97864-813D-405D-A01E-4DADCC1705D9}" destId="{E2F1240C-6631-4F88-9C58-E0B687C94DB9}" srcOrd="0" destOrd="0" presId="urn:microsoft.com/office/officeart/2005/8/layout/hierarchy1"/>
    <dgm:cxn modelId="{FF3D9A07-D66F-43C1-A70E-ED81F2B9039B}" type="presParOf" srcId="{97A97864-813D-405D-A01E-4DADCC1705D9}" destId="{FC96E8D6-7944-4DD2-852F-1063A02DAA22}" srcOrd="1" destOrd="0" presId="urn:microsoft.com/office/officeart/2005/8/layout/hierarchy1"/>
    <dgm:cxn modelId="{71238AB9-87BD-41D4-AF9A-49CDF367BE0F}" type="presParOf" srcId="{CCFA38BA-2582-43C6-A988-EA097A3A8354}" destId="{AABF48F5-214B-4A40-8CA9-1FAB773D58DA}" srcOrd="1" destOrd="0" presId="urn:microsoft.com/office/officeart/2005/8/layout/hierarchy1"/>
    <dgm:cxn modelId="{12EB19B6-CCBE-416D-AABC-CAA5A8EE0F84}" type="presParOf" srcId="{AABF48F5-214B-4A40-8CA9-1FAB773D58DA}" destId="{3F31D461-5049-4C6D-886D-2A630BFB8B4E}" srcOrd="0" destOrd="0" presId="urn:microsoft.com/office/officeart/2005/8/layout/hierarchy1"/>
    <dgm:cxn modelId="{2A93AD0E-2556-4CC8-81F5-D9F063785770}" type="presParOf" srcId="{AABF48F5-214B-4A40-8CA9-1FAB773D58DA}" destId="{1CC0DA79-8F7A-4C5B-8681-65097D76762F}" srcOrd="1" destOrd="0" presId="urn:microsoft.com/office/officeart/2005/8/layout/hierarchy1"/>
    <dgm:cxn modelId="{C25B0202-AE6A-40EF-8454-92AF30551D57}" type="presParOf" srcId="{1CC0DA79-8F7A-4C5B-8681-65097D76762F}" destId="{3044DA7A-4CF9-45DD-9ABE-921087221053}" srcOrd="0" destOrd="0" presId="urn:microsoft.com/office/officeart/2005/8/layout/hierarchy1"/>
    <dgm:cxn modelId="{4415EA30-75C1-4C37-9D97-9DF6B062B011}" type="presParOf" srcId="{3044DA7A-4CF9-45DD-9ABE-921087221053}" destId="{22421052-C946-4861-937B-A1084ACD0751}" srcOrd="0" destOrd="0" presId="urn:microsoft.com/office/officeart/2005/8/layout/hierarchy1"/>
    <dgm:cxn modelId="{30B6E37C-FD07-4675-92DC-3286B6DEAAA3}" type="presParOf" srcId="{3044DA7A-4CF9-45DD-9ABE-921087221053}" destId="{3BD40E06-974F-4B64-8478-6E09F73244F9}" srcOrd="1" destOrd="0" presId="urn:microsoft.com/office/officeart/2005/8/layout/hierarchy1"/>
    <dgm:cxn modelId="{891AD044-8DEF-474E-A9EA-EBCEA7815540}" type="presParOf" srcId="{1CC0DA79-8F7A-4C5B-8681-65097D76762F}" destId="{2E743358-E9BD-49B4-A368-DD64C095B68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CCD92B8-CDD7-40E6-B6C0-B55BAD670F3D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9B5D025-D078-44AF-A8E6-0A8417684F62}">
      <dgm:prSet phldrT="[Текст]"/>
      <dgm:spPr/>
      <dgm:t>
        <a:bodyPr/>
        <a:lstStyle/>
        <a:p>
          <a:r>
            <a:rPr lang="ru-RU" dirty="0"/>
            <a:t>Поддержка на государственном уровне</a:t>
          </a:r>
        </a:p>
      </dgm:t>
    </dgm:pt>
    <dgm:pt modelId="{37D6F9F8-0E06-469C-8370-74EA34E69666}" type="parTrans" cxnId="{8A326821-0DC7-4D8E-B1DF-6A048438A970}">
      <dgm:prSet/>
      <dgm:spPr/>
      <dgm:t>
        <a:bodyPr/>
        <a:lstStyle/>
        <a:p>
          <a:endParaRPr lang="ru-RU"/>
        </a:p>
      </dgm:t>
    </dgm:pt>
    <dgm:pt modelId="{838E550B-D07D-465D-908B-9DEC23D356A7}" type="sibTrans" cxnId="{8A326821-0DC7-4D8E-B1DF-6A048438A970}">
      <dgm:prSet/>
      <dgm:spPr/>
      <dgm:t>
        <a:bodyPr/>
        <a:lstStyle/>
        <a:p>
          <a:endParaRPr lang="ru-RU"/>
        </a:p>
      </dgm:t>
    </dgm:pt>
    <dgm:pt modelId="{C4980BBF-9E65-4A91-85EC-794B8A9D9D6A}">
      <dgm:prSet phldrT="[Текст]"/>
      <dgm:spPr/>
      <dgm:t>
        <a:bodyPr/>
        <a:lstStyle/>
        <a:p>
          <a:r>
            <a:rPr lang="ru-RU" dirty="0"/>
            <a:t>Квалифицированные специалисты</a:t>
          </a:r>
        </a:p>
      </dgm:t>
    </dgm:pt>
    <dgm:pt modelId="{B30F11DF-34F4-40D9-A171-D6F15E624D3E}" type="parTrans" cxnId="{227D9DB7-2F24-4923-8E9E-E9AC8564CAA8}">
      <dgm:prSet/>
      <dgm:spPr/>
      <dgm:t>
        <a:bodyPr/>
        <a:lstStyle/>
        <a:p>
          <a:endParaRPr lang="ru-RU"/>
        </a:p>
      </dgm:t>
    </dgm:pt>
    <dgm:pt modelId="{C1E3A8B9-02A3-4ED6-AEE1-BF0C53CDCDE2}" type="sibTrans" cxnId="{227D9DB7-2F24-4923-8E9E-E9AC8564CAA8}">
      <dgm:prSet/>
      <dgm:spPr/>
      <dgm:t>
        <a:bodyPr/>
        <a:lstStyle/>
        <a:p>
          <a:endParaRPr lang="ru-RU"/>
        </a:p>
      </dgm:t>
    </dgm:pt>
    <dgm:pt modelId="{7F91670C-C99E-4364-91A8-1C48F7733F87}">
      <dgm:prSet phldrT="[Текст]"/>
      <dgm:spPr/>
      <dgm:t>
        <a:bodyPr/>
        <a:lstStyle/>
        <a:p>
          <a:r>
            <a:rPr lang="ru-RU" dirty="0"/>
            <a:t>Генетика</a:t>
          </a:r>
        </a:p>
        <a:p>
          <a:r>
            <a:rPr lang="ru-RU" dirty="0"/>
            <a:t>Качественные корма</a:t>
          </a:r>
        </a:p>
        <a:p>
          <a:r>
            <a:rPr lang="ru-RU" dirty="0"/>
            <a:t>Комфорт</a:t>
          </a:r>
        </a:p>
      </dgm:t>
    </dgm:pt>
    <dgm:pt modelId="{15B56658-FF99-49AE-9B74-0560D0392989}" type="parTrans" cxnId="{837F97E6-E62F-45F7-995B-4E7D8D1DC106}">
      <dgm:prSet/>
      <dgm:spPr/>
      <dgm:t>
        <a:bodyPr/>
        <a:lstStyle/>
        <a:p>
          <a:endParaRPr lang="ru-RU"/>
        </a:p>
      </dgm:t>
    </dgm:pt>
    <dgm:pt modelId="{73C90B6C-10B6-4E7B-B8CE-CC1B2CC60385}" type="sibTrans" cxnId="{837F97E6-E62F-45F7-995B-4E7D8D1DC106}">
      <dgm:prSet/>
      <dgm:spPr/>
      <dgm:t>
        <a:bodyPr/>
        <a:lstStyle/>
        <a:p>
          <a:endParaRPr lang="ru-RU"/>
        </a:p>
      </dgm:t>
    </dgm:pt>
    <dgm:pt modelId="{03423C9E-2ECA-42FB-9052-3F551DE4F8CD}" type="pres">
      <dgm:prSet presAssocID="{1CCD92B8-CDD7-40E6-B6C0-B55BAD670F3D}" presName="linear" presStyleCnt="0">
        <dgm:presLayoutVars>
          <dgm:dir/>
          <dgm:resizeHandles val="exact"/>
        </dgm:presLayoutVars>
      </dgm:prSet>
      <dgm:spPr/>
    </dgm:pt>
    <dgm:pt modelId="{8C29CEAE-29E0-4FC3-A2D9-CB9A2B8EAE23}" type="pres">
      <dgm:prSet presAssocID="{D9B5D025-D078-44AF-A8E6-0A8417684F62}" presName="comp" presStyleCnt="0"/>
      <dgm:spPr/>
    </dgm:pt>
    <dgm:pt modelId="{796E2CF2-03C4-46C4-BFD7-E026B631B398}" type="pres">
      <dgm:prSet presAssocID="{D9B5D025-D078-44AF-A8E6-0A8417684F62}" presName="box" presStyleLbl="node1" presStyleIdx="0" presStyleCnt="3"/>
      <dgm:spPr/>
    </dgm:pt>
    <dgm:pt modelId="{8577D533-E777-4B94-B0C0-C0612DF25530}" type="pres">
      <dgm:prSet presAssocID="{D9B5D025-D078-44AF-A8E6-0A8417684F62}" presName="img" presStyleLbl="fgImgPlace1" presStyleIdx="0" presStyleCnt="3"/>
      <dgm:spPr>
        <a:blipFill>
          <a:blip xmlns:r="http://schemas.openxmlformats.org/officeDocument/2006/relationships" r:embed="rId1"/>
          <a:srcRect/>
          <a:stretch>
            <a:fillRect t="-11000" b="-11000"/>
          </a:stretch>
        </a:blipFill>
      </dgm:spPr>
    </dgm:pt>
    <dgm:pt modelId="{8B70ADCB-FBC7-42CE-A1FA-25C61F5421DC}" type="pres">
      <dgm:prSet presAssocID="{D9B5D025-D078-44AF-A8E6-0A8417684F62}" presName="text" presStyleLbl="node1" presStyleIdx="0" presStyleCnt="3">
        <dgm:presLayoutVars>
          <dgm:bulletEnabled val="1"/>
        </dgm:presLayoutVars>
      </dgm:prSet>
      <dgm:spPr/>
    </dgm:pt>
    <dgm:pt modelId="{F913C7F9-81F1-4F64-874F-C7FC1FBC1E9E}" type="pres">
      <dgm:prSet presAssocID="{838E550B-D07D-465D-908B-9DEC23D356A7}" presName="spacer" presStyleCnt="0"/>
      <dgm:spPr/>
    </dgm:pt>
    <dgm:pt modelId="{7164F990-74D6-4DB4-9A0C-0D36DB5E5E8E}" type="pres">
      <dgm:prSet presAssocID="{C4980BBF-9E65-4A91-85EC-794B8A9D9D6A}" presName="comp" presStyleCnt="0"/>
      <dgm:spPr/>
    </dgm:pt>
    <dgm:pt modelId="{99DC9205-44B6-4229-B77B-7DE5AD76019D}" type="pres">
      <dgm:prSet presAssocID="{C4980BBF-9E65-4A91-85EC-794B8A9D9D6A}" presName="box" presStyleLbl="node1" presStyleIdx="1" presStyleCnt="3"/>
      <dgm:spPr/>
    </dgm:pt>
    <dgm:pt modelId="{C87486DE-BD79-4505-9AA2-36C00B1694FC}" type="pres">
      <dgm:prSet presAssocID="{C4980BBF-9E65-4A91-85EC-794B8A9D9D6A}" presName="img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</dgm:pt>
    <dgm:pt modelId="{B13AC040-A753-4264-B6E9-830C3BDCD96E}" type="pres">
      <dgm:prSet presAssocID="{C4980BBF-9E65-4A91-85EC-794B8A9D9D6A}" presName="text" presStyleLbl="node1" presStyleIdx="1" presStyleCnt="3">
        <dgm:presLayoutVars>
          <dgm:bulletEnabled val="1"/>
        </dgm:presLayoutVars>
      </dgm:prSet>
      <dgm:spPr/>
    </dgm:pt>
    <dgm:pt modelId="{28025681-DA8F-481E-BA38-7D15B30969CC}" type="pres">
      <dgm:prSet presAssocID="{C1E3A8B9-02A3-4ED6-AEE1-BF0C53CDCDE2}" presName="spacer" presStyleCnt="0"/>
      <dgm:spPr/>
    </dgm:pt>
    <dgm:pt modelId="{8D11E60C-3713-410D-B006-321C22C4D199}" type="pres">
      <dgm:prSet presAssocID="{7F91670C-C99E-4364-91A8-1C48F7733F87}" presName="comp" presStyleCnt="0"/>
      <dgm:spPr/>
    </dgm:pt>
    <dgm:pt modelId="{7E2E7325-9EAD-466E-BB3E-BB69B1C1F114}" type="pres">
      <dgm:prSet presAssocID="{7F91670C-C99E-4364-91A8-1C48F7733F87}" presName="box" presStyleLbl="node1" presStyleIdx="2" presStyleCnt="3"/>
      <dgm:spPr/>
    </dgm:pt>
    <dgm:pt modelId="{72DD26EA-1390-4774-9DA4-818B26E9B6C8}" type="pres">
      <dgm:prSet presAssocID="{7F91670C-C99E-4364-91A8-1C48F7733F87}" presName="img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A6F2A33C-6D9B-4702-9EBE-9D076BF872D5}" type="pres">
      <dgm:prSet presAssocID="{7F91670C-C99E-4364-91A8-1C48F7733F87}" presName="text" presStyleLbl="node1" presStyleIdx="2" presStyleCnt="3">
        <dgm:presLayoutVars>
          <dgm:bulletEnabled val="1"/>
        </dgm:presLayoutVars>
      </dgm:prSet>
      <dgm:spPr/>
    </dgm:pt>
  </dgm:ptLst>
  <dgm:cxnLst>
    <dgm:cxn modelId="{ABEF121B-4EEB-4892-B23A-B0C4220A2377}" type="presOf" srcId="{1CCD92B8-CDD7-40E6-B6C0-B55BAD670F3D}" destId="{03423C9E-2ECA-42FB-9052-3F551DE4F8CD}" srcOrd="0" destOrd="0" presId="urn:microsoft.com/office/officeart/2005/8/layout/vList4"/>
    <dgm:cxn modelId="{8A326821-0DC7-4D8E-B1DF-6A048438A970}" srcId="{1CCD92B8-CDD7-40E6-B6C0-B55BAD670F3D}" destId="{D9B5D025-D078-44AF-A8E6-0A8417684F62}" srcOrd="0" destOrd="0" parTransId="{37D6F9F8-0E06-469C-8370-74EA34E69666}" sibTransId="{838E550B-D07D-465D-908B-9DEC23D356A7}"/>
    <dgm:cxn modelId="{2E687361-9DE0-4614-9D13-2770D79496C7}" type="presOf" srcId="{7F91670C-C99E-4364-91A8-1C48F7733F87}" destId="{A6F2A33C-6D9B-4702-9EBE-9D076BF872D5}" srcOrd="1" destOrd="0" presId="urn:microsoft.com/office/officeart/2005/8/layout/vList4"/>
    <dgm:cxn modelId="{3CFD6269-F504-4699-A5A4-686497CD4073}" type="presOf" srcId="{C4980BBF-9E65-4A91-85EC-794B8A9D9D6A}" destId="{99DC9205-44B6-4229-B77B-7DE5AD76019D}" srcOrd="0" destOrd="0" presId="urn:microsoft.com/office/officeart/2005/8/layout/vList4"/>
    <dgm:cxn modelId="{C0AAC971-C7E0-46D9-A26C-C80C13123133}" type="presOf" srcId="{7F91670C-C99E-4364-91A8-1C48F7733F87}" destId="{7E2E7325-9EAD-466E-BB3E-BB69B1C1F114}" srcOrd="0" destOrd="0" presId="urn:microsoft.com/office/officeart/2005/8/layout/vList4"/>
    <dgm:cxn modelId="{9F42387A-5410-49CF-80F1-0FB4DE596548}" type="presOf" srcId="{C4980BBF-9E65-4A91-85EC-794B8A9D9D6A}" destId="{B13AC040-A753-4264-B6E9-830C3BDCD96E}" srcOrd="1" destOrd="0" presId="urn:microsoft.com/office/officeart/2005/8/layout/vList4"/>
    <dgm:cxn modelId="{705E7C97-6CFD-49B1-B458-B7DC5E9043CE}" type="presOf" srcId="{D9B5D025-D078-44AF-A8E6-0A8417684F62}" destId="{8B70ADCB-FBC7-42CE-A1FA-25C61F5421DC}" srcOrd="1" destOrd="0" presId="urn:microsoft.com/office/officeart/2005/8/layout/vList4"/>
    <dgm:cxn modelId="{227D9DB7-2F24-4923-8E9E-E9AC8564CAA8}" srcId="{1CCD92B8-CDD7-40E6-B6C0-B55BAD670F3D}" destId="{C4980BBF-9E65-4A91-85EC-794B8A9D9D6A}" srcOrd="1" destOrd="0" parTransId="{B30F11DF-34F4-40D9-A171-D6F15E624D3E}" sibTransId="{C1E3A8B9-02A3-4ED6-AEE1-BF0C53CDCDE2}"/>
    <dgm:cxn modelId="{837F97E6-E62F-45F7-995B-4E7D8D1DC106}" srcId="{1CCD92B8-CDD7-40E6-B6C0-B55BAD670F3D}" destId="{7F91670C-C99E-4364-91A8-1C48F7733F87}" srcOrd="2" destOrd="0" parTransId="{15B56658-FF99-49AE-9B74-0560D0392989}" sibTransId="{73C90B6C-10B6-4E7B-B8CE-CC1B2CC60385}"/>
    <dgm:cxn modelId="{8A67AAF7-605D-476C-8B40-A4689295A68F}" type="presOf" srcId="{D9B5D025-D078-44AF-A8E6-0A8417684F62}" destId="{796E2CF2-03C4-46C4-BFD7-E026B631B398}" srcOrd="0" destOrd="0" presId="urn:microsoft.com/office/officeart/2005/8/layout/vList4"/>
    <dgm:cxn modelId="{765B1348-5D02-41EC-B3C6-7971DDD18D5B}" type="presParOf" srcId="{03423C9E-2ECA-42FB-9052-3F551DE4F8CD}" destId="{8C29CEAE-29E0-4FC3-A2D9-CB9A2B8EAE23}" srcOrd="0" destOrd="0" presId="urn:microsoft.com/office/officeart/2005/8/layout/vList4"/>
    <dgm:cxn modelId="{7AC5CE76-0EF2-4692-B5F8-4848963E6810}" type="presParOf" srcId="{8C29CEAE-29E0-4FC3-A2D9-CB9A2B8EAE23}" destId="{796E2CF2-03C4-46C4-BFD7-E026B631B398}" srcOrd="0" destOrd="0" presId="urn:microsoft.com/office/officeart/2005/8/layout/vList4"/>
    <dgm:cxn modelId="{93EC6632-F26C-401A-B525-302E31B7D0E4}" type="presParOf" srcId="{8C29CEAE-29E0-4FC3-A2D9-CB9A2B8EAE23}" destId="{8577D533-E777-4B94-B0C0-C0612DF25530}" srcOrd="1" destOrd="0" presId="urn:microsoft.com/office/officeart/2005/8/layout/vList4"/>
    <dgm:cxn modelId="{93845740-2E2B-4707-8D0A-F213047CCB61}" type="presParOf" srcId="{8C29CEAE-29E0-4FC3-A2D9-CB9A2B8EAE23}" destId="{8B70ADCB-FBC7-42CE-A1FA-25C61F5421DC}" srcOrd="2" destOrd="0" presId="urn:microsoft.com/office/officeart/2005/8/layout/vList4"/>
    <dgm:cxn modelId="{0C4999EC-491D-441F-AE25-5AB16627A618}" type="presParOf" srcId="{03423C9E-2ECA-42FB-9052-3F551DE4F8CD}" destId="{F913C7F9-81F1-4F64-874F-C7FC1FBC1E9E}" srcOrd="1" destOrd="0" presId="urn:microsoft.com/office/officeart/2005/8/layout/vList4"/>
    <dgm:cxn modelId="{2B4DD694-44EB-4B67-B3A3-C1E4824B22F0}" type="presParOf" srcId="{03423C9E-2ECA-42FB-9052-3F551DE4F8CD}" destId="{7164F990-74D6-4DB4-9A0C-0D36DB5E5E8E}" srcOrd="2" destOrd="0" presId="urn:microsoft.com/office/officeart/2005/8/layout/vList4"/>
    <dgm:cxn modelId="{ACC906DE-0BD1-4777-A13A-5B33E03661B1}" type="presParOf" srcId="{7164F990-74D6-4DB4-9A0C-0D36DB5E5E8E}" destId="{99DC9205-44B6-4229-B77B-7DE5AD76019D}" srcOrd="0" destOrd="0" presId="urn:microsoft.com/office/officeart/2005/8/layout/vList4"/>
    <dgm:cxn modelId="{DE815B0E-F19D-49DD-A54E-F86FB8A455B0}" type="presParOf" srcId="{7164F990-74D6-4DB4-9A0C-0D36DB5E5E8E}" destId="{C87486DE-BD79-4505-9AA2-36C00B1694FC}" srcOrd="1" destOrd="0" presId="urn:microsoft.com/office/officeart/2005/8/layout/vList4"/>
    <dgm:cxn modelId="{AA208EF6-F64A-47FE-B422-C7D787436EEF}" type="presParOf" srcId="{7164F990-74D6-4DB4-9A0C-0D36DB5E5E8E}" destId="{B13AC040-A753-4264-B6E9-830C3BDCD96E}" srcOrd="2" destOrd="0" presId="urn:microsoft.com/office/officeart/2005/8/layout/vList4"/>
    <dgm:cxn modelId="{2B8785D3-200A-4A5C-8913-1D2F616586EC}" type="presParOf" srcId="{03423C9E-2ECA-42FB-9052-3F551DE4F8CD}" destId="{28025681-DA8F-481E-BA38-7D15B30969CC}" srcOrd="3" destOrd="0" presId="urn:microsoft.com/office/officeart/2005/8/layout/vList4"/>
    <dgm:cxn modelId="{0E27D3F3-15AB-4BB5-B13C-09A4A6E04A74}" type="presParOf" srcId="{03423C9E-2ECA-42FB-9052-3F551DE4F8CD}" destId="{8D11E60C-3713-410D-B006-321C22C4D199}" srcOrd="4" destOrd="0" presId="urn:microsoft.com/office/officeart/2005/8/layout/vList4"/>
    <dgm:cxn modelId="{049EC15A-6A7C-4B4B-BADB-9FAB6BA96626}" type="presParOf" srcId="{8D11E60C-3713-410D-B006-321C22C4D199}" destId="{7E2E7325-9EAD-466E-BB3E-BB69B1C1F114}" srcOrd="0" destOrd="0" presId="urn:microsoft.com/office/officeart/2005/8/layout/vList4"/>
    <dgm:cxn modelId="{E512444C-E35E-490A-BF3B-8B28C512CC32}" type="presParOf" srcId="{8D11E60C-3713-410D-B006-321C22C4D199}" destId="{72DD26EA-1390-4774-9DA4-818B26E9B6C8}" srcOrd="1" destOrd="0" presId="urn:microsoft.com/office/officeart/2005/8/layout/vList4"/>
    <dgm:cxn modelId="{F69ECB45-3479-409F-B385-78E31886BB07}" type="presParOf" srcId="{8D11E60C-3713-410D-B006-321C22C4D199}" destId="{A6F2A33C-6D9B-4702-9EBE-9D076BF872D5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B22705-1612-41E1-B032-3337BCB4A6C8}">
      <dsp:nvSpPr>
        <dsp:cNvPr id="0" name=""/>
        <dsp:cNvSpPr/>
      </dsp:nvSpPr>
      <dsp:spPr>
        <a:xfrm>
          <a:off x="1526959" y="3560821"/>
          <a:ext cx="91440" cy="416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DC8E89-E256-4D70-9B37-2B77725A87B8}">
      <dsp:nvSpPr>
        <dsp:cNvPr id="0" name=""/>
        <dsp:cNvSpPr/>
      </dsp:nvSpPr>
      <dsp:spPr>
        <a:xfrm>
          <a:off x="1526959" y="2235690"/>
          <a:ext cx="91440" cy="416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DED863-907E-4A6F-BE53-A0EB5C3F4E60}">
      <dsp:nvSpPr>
        <dsp:cNvPr id="0" name=""/>
        <dsp:cNvSpPr/>
      </dsp:nvSpPr>
      <dsp:spPr>
        <a:xfrm>
          <a:off x="1572679" y="910558"/>
          <a:ext cx="1674562" cy="416265"/>
        </a:xfrm>
        <a:custGeom>
          <a:avLst/>
          <a:gdLst/>
          <a:ahLst/>
          <a:cxnLst/>
          <a:rect l="0" t="0" r="0" b="0"/>
          <a:pathLst>
            <a:path>
              <a:moveTo>
                <a:pt x="1674562" y="0"/>
              </a:moveTo>
              <a:lnTo>
                <a:pt x="1674562" y="283672"/>
              </a:lnTo>
              <a:lnTo>
                <a:pt x="0" y="283672"/>
              </a:lnTo>
              <a:lnTo>
                <a:pt x="0" y="4162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4505AA-4BCD-4DA7-BBC8-A23039ABE80E}">
      <dsp:nvSpPr>
        <dsp:cNvPr id="0" name=""/>
        <dsp:cNvSpPr/>
      </dsp:nvSpPr>
      <dsp:spPr>
        <a:xfrm>
          <a:off x="3647504" y="3560821"/>
          <a:ext cx="91440" cy="416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33F434-493A-4227-8760-2A149659BDED}">
      <dsp:nvSpPr>
        <dsp:cNvPr id="0" name=""/>
        <dsp:cNvSpPr/>
      </dsp:nvSpPr>
      <dsp:spPr>
        <a:xfrm>
          <a:off x="3693224" y="2235690"/>
          <a:ext cx="1112131" cy="416265"/>
        </a:xfrm>
        <a:custGeom>
          <a:avLst/>
          <a:gdLst/>
          <a:ahLst/>
          <a:cxnLst/>
          <a:rect l="0" t="0" r="0" b="0"/>
          <a:pathLst>
            <a:path>
              <a:moveTo>
                <a:pt x="1112131" y="0"/>
              </a:moveTo>
              <a:lnTo>
                <a:pt x="1112131" y="283672"/>
              </a:lnTo>
              <a:lnTo>
                <a:pt x="0" y="283672"/>
              </a:lnTo>
              <a:lnTo>
                <a:pt x="0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30EB19-BC81-476C-9D06-BC63863DDA03}">
      <dsp:nvSpPr>
        <dsp:cNvPr id="0" name=""/>
        <dsp:cNvSpPr/>
      </dsp:nvSpPr>
      <dsp:spPr>
        <a:xfrm>
          <a:off x="5634310" y="3560821"/>
          <a:ext cx="91440" cy="416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F3A2D8-7026-44A2-9201-33EEDE82C730}">
      <dsp:nvSpPr>
        <dsp:cNvPr id="0" name=""/>
        <dsp:cNvSpPr/>
      </dsp:nvSpPr>
      <dsp:spPr>
        <a:xfrm>
          <a:off x="4805356" y="2235690"/>
          <a:ext cx="874674" cy="4162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3672"/>
              </a:lnTo>
              <a:lnTo>
                <a:pt x="874674" y="283672"/>
              </a:lnTo>
              <a:lnTo>
                <a:pt x="874674" y="4162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6F2A64-FB14-4159-9354-E1B6830C0E32}">
      <dsp:nvSpPr>
        <dsp:cNvPr id="0" name=""/>
        <dsp:cNvSpPr/>
      </dsp:nvSpPr>
      <dsp:spPr>
        <a:xfrm>
          <a:off x="3247242" y="910558"/>
          <a:ext cx="1558113" cy="4162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3672"/>
              </a:lnTo>
              <a:lnTo>
                <a:pt x="1558113" y="283672"/>
              </a:lnTo>
              <a:lnTo>
                <a:pt x="1558113" y="4162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E897A-3626-456A-A3EC-96268EE1B137}">
      <dsp:nvSpPr>
        <dsp:cNvPr id="0" name=""/>
        <dsp:cNvSpPr/>
      </dsp:nvSpPr>
      <dsp:spPr>
        <a:xfrm>
          <a:off x="1791819" y="1692"/>
          <a:ext cx="2910847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A060F84-7F47-447A-8D3A-DE9F176D1DF4}">
      <dsp:nvSpPr>
        <dsp:cNvPr id="0" name=""/>
        <dsp:cNvSpPr/>
      </dsp:nvSpPr>
      <dsp:spPr>
        <a:xfrm>
          <a:off x="1950850" y="152773"/>
          <a:ext cx="2910847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оботизированное доение</a:t>
          </a:r>
        </a:p>
      </dsp:txBody>
      <dsp:txXfrm>
        <a:off x="1977470" y="179393"/>
        <a:ext cx="2857607" cy="855625"/>
      </dsp:txXfrm>
    </dsp:sp>
    <dsp:sp modelId="{AE385385-F2AC-4CC1-898C-0FA4C31B3935}">
      <dsp:nvSpPr>
        <dsp:cNvPr id="0" name=""/>
        <dsp:cNvSpPr/>
      </dsp:nvSpPr>
      <dsp:spPr>
        <a:xfrm>
          <a:off x="3505914" y="1326824"/>
          <a:ext cx="2598884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C34A3D2-6DD8-4294-AA1A-1B73345FBAA1}">
      <dsp:nvSpPr>
        <dsp:cNvPr id="0" name=""/>
        <dsp:cNvSpPr/>
      </dsp:nvSpPr>
      <dsp:spPr>
        <a:xfrm>
          <a:off x="3664945" y="1477904"/>
          <a:ext cx="2598884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/>
            <a:t>Фиксированные промежутки времени</a:t>
          </a:r>
          <a:endParaRPr lang="ru-RU" sz="1700" kern="1200" dirty="0"/>
        </a:p>
      </dsp:txBody>
      <dsp:txXfrm>
        <a:off x="3691565" y="1504524"/>
        <a:ext cx="2545644" cy="855625"/>
      </dsp:txXfrm>
    </dsp:sp>
    <dsp:sp modelId="{FC53E88D-399A-4F5E-B8C5-46B1CB76F1B5}">
      <dsp:nvSpPr>
        <dsp:cNvPr id="0" name=""/>
        <dsp:cNvSpPr/>
      </dsp:nvSpPr>
      <dsp:spPr>
        <a:xfrm>
          <a:off x="4726930" y="2651955"/>
          <a:ext cx="1906199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BEB0507-18CB-437E-852E-75A22133F37A}">
      <dsp:nvSpPr>
        <dsp:cNvPr id="0" name=""/>
        <dsp:cNvSpPr/>
      </dsp:nvSpPr>
      <dsp:spPr>
        <a:xfrm>
          <a:off x="4885962" y="2803035"/>
          <a:ext cx="1906199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оботизированная карусель</a:t>
          </a:r>
        </a:p>
      </dsp:txBody>
      <dsp:txXfrm>
        <a:off x="4912582" y="2829655"/>
        <a:ext cx="1852959" cy="855625"/>
      </dsp:txXfrm>
    </dsp:sp>
    <dsp:sp modelId="{BD8401C8-D368-4802-B87F-CFF6496886A1}">
      <dsp:nvSpPr>
        <dsp:cNvPr id="0" name=""/>
        <dsp:cNvSpPr/>
      </dsp:nvSpPr>
      <dsp:spPr>
        <a:xfrm>
          <a:off x="4791789" y="3977087"/>
          <a:ext cx="1776482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63F9BA-A8CD-402E-B819-B4A669F4AA79}">
      <dsp:nvSpPr>
        <dsp:cNvPr id="0" name=""/>
        <dsp:cNvSpPr/>
      </dsp:nvSpPr>
      <dsp:spPr>
        <a:xfrm>
          <a:off x="4950820" y="4128167"/>
          <a:ext cx="1776482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/>
            <a:t>Доение группами</a:t>
          </a:r>
        </a:p>
      </dsp:txBody>
      <dsp:txXfrm>
        <a:off x="4977440" y="4154787"/>
        <a:ext cx="1723242" cy="855625"/>
      </dsp:txXfrm>
    </dsp:sp>
    <dsp:sp modelId="{26BDD23E-F48A-4D00-9A84-6FD3BDFF6D09}">
      <dsp:nvSpPr>
        <dsp:cNvPr id="0" name=""/>
        <dsp:cNvSpPr/>
      </dsp:nvSpPr>
      <dsp:spPr>
        <a:xfrm>
          <a:off x="2977582" y="2651955"/>
          <a:ext cx="1431284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6C8B6E5-2B64-4BC8-802C-FDAC71004E52}">
      <dsp:nvSpPr>
        <dsp:cNvPr id="0" name=""/>
        <dsp:cNvSpPr/>
      </dsp:nvSpPr>
      <dsp:spPr>
        <a:xfrm>
          <a:off x="3136613" y="2803035"/>
          <a:ext cx="1431284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Batch milking</a:t>
          </a:r>
          <a:endParaRPr lang="ru-RU" sz="1700" b="1" kern="1200" dirty="0"/>
        </a:p>
      </dsp:txBody>
      <dsp:txXfrm>
        <a:off x="3163233" y="2829655"/>
        <a:ext cx="1378044" cy="855625"/>
      </dsp:txXfrm>
    </dsp:sp>
    <dsp:sp modelId="{37D390CB-7816-4753-A52B-09637F9A2842}">
      <dsp:nvSpPr>
        <dsp:cNvPr id="0" name=""/>
        <dsp:cNvSpPr/>
      </dsp:nvSpPr>
      <dsp:spPr>
        <a:xfrm>
          <a:off x="2977582" y="3977087"/>
          <a:ext cx="1431284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D7C0CFA-A665-4D5E-AEC2-D18642C2775C}">
      <dsp:nvSpPr>
        <dsp:cNvPr id="0" name=""/>
        <dsp:cNvSpPr/>
      </dsp:nvSpPr>
      <dsp:spPr>
        <a:xfrm>
          <a:off x="3136613" y="4128167"/>
          <a:ext cx="1431284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/>
            <a:t>Доение группами</a:t>
          </a:r>
        </a:p>
      </dsp:txBody>
      <dsp:txXfrm>
        <a:off x="3163233" y="4154787"/>
        <a:ext cx="1378044" cy="855625"/>
      </dsp:txXfrm>
    </dsp:sp>
    <dsp:sp modelId="{BC4BB7A4-6312-4D3A-9287-6B6595CA6690}">
      <dsp:nvSpPr>
        <dsp:cNvPr id="0" name=""/>
        <dsp:cNvSpPr/>
      </dsp:nvSpPr>
      <dsp:spPr>
        <a:xfrm>
          <a:off x="389687" y="1326824"/>
          <a:ext cx="2365985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68D4B76-DEB8-4223-A7FF-22E958512A38}">
      <dsp:nvSpPr>
        <dsp:cNvPr id="0" name=""/>
        <dsp:cNvSpPr/>
      </dsp:nvSpPr>
      <dsp:spPr>
        <a:xfrm>
          <a:off x="548718" y="1477904"/>
          <a:ext cx="2365985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вободный выбор технологии доения</a:t>
          </a:r>
        </a:p>
      </dsp:txBody>
      <dsp:txXfrm>
        <a:off x="575338" y="1504524"/>
        <a:ext cx="2312745" cy="855625"/>
      </dsp:txXfrm>
    </dsp:sp>
    <dsp:sp modelId="{09E20DC3-2041-4D4B-ABA0-027CFA455041}">
      <dsp:nvSpPr>
        <dsp:cNvPr id="0" name=""/>
        <dsp:cNvSpPr/>
      </dsp:nvSpPr>
      <dsp:spPr>
        <a:xfrm>
          <a:off x="485847" y="2651955"/>
          <a:ext cx="2173663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2A5FC6E-6677-475C-95C7-58DC12FF11D4}">
      <dsp:nvSpPr>
        <dsp:cNvPr id="0" name=""/>
        <dsp:cNvSpPr/>
      </dsp:nvSpPr>
      <dsp:spPr>
        <a:xfrm>
          <a:off x="644879" y="2803035"/>
          <a:ext cx="2173663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диночно стоящие роботы</a:t>
          </a:r>
        </a:p>
      </dsp:txBody>
      <dsp:txXfrm>
        <a:off x="671499" y="2829655"/>
        <a:ext cx="2120423" cy="855625"/>
      </dsp:txXfrm>
    </dsp:sp>
    <dsp:sp modelId="{3AE86AA0-2F00-4862-8E42-0BE8CAFE5262}">
      <dsp:nvSpPr>
        <dsp:cNvPr id="0" name=""/>
        <dsp:cNvSpPr/>
      </dsp:nvSpPr>
      <dsp:spPr>
        <a:xfrm>
          <a:off x="485840" y="3977087"/>
          <a:ext cx="2173678" cy="9088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862F99B-6A44-4DA8-B08E-0188E684D66C}">
      <dsp:nvSpPr>
        <dsp:cNvPr id="0" name=""/>
        <dsp:cNvSpPr/>
      </dsp:nvSpPr>
      <dsp:spPr>
        <a:xfrm>
          <a:off x="644872" y="4128167"/>
          <a:ext cx="2173678" cy="90886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/>
            <a:t>Одиночное доение</a:t>
          </a:r>
        </a:p>
      </dsp:txBody>
      <dsp:txXfrm>
        <a:off x="671492" y="4154787"/>
        <a:ext cx="2120438" cy="8556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31D461-5049-4C6D-886D-2A630BFB8B4E}">
      <dsp:nvSpPr>
        <dsp:cNvPr id="0" name=""/>
        <dsp:cNvSpPr/>
      </dsp:nvSpPr>
      <dsp:spPr>
        <a:xfrm>
          <a:off x="1579750" y="3560672"/>
          <a:ext cx="91440" cy="41825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82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0BB976-D043-446E-9F55-990290542CFE}">
      <dsp:nvSpPr>
        <dsp:cNvPr id="0" name=""/>
        <dsp:cNvSpPr/>
      </dsp:nvSpPr>
      <dsp:spPr>
        <a:xfrm>
          <a:off x="1579750" y="2235730"/>
          <a:ext cx="91440" cy="41620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0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11BCC1-C669-4A98-80B8-CAAAA335F3E8}">
      <dsp:nvSpPr>
        <dsp:cNvPr id="0" name=""/>
        <dsp:cNvSpPr/>
      </dsp:nvSpPr>
      <dsp:spPr>
        <a:xfrm>
          <a:off x="1579750" y="910788"/>
          <a:ext cx="91440" cy="41620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62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16483B-D0F3-403C-9E7B-8D4AE33E01F7}">
      <dsp:nvSpPr>
        <dsp:cNvPr id="0" name=""/>
        <dsp:cNvSpPr/>
      </dsp:nvSpPr>
      <dsp:spPr>
        <a:xfrm>
          <a:off x="277579" y="2052"/>
          <a:ext cx="2695782" cy="908735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EDF4AE-898B-4B03-ABB6-144BFA3E724E}">
      <dsp:nvSpPr>
        <dsp:cNvPr id="0" name=""/>
        <dsp:cNvSpPr/>
      </dsp:nvSpPr>
      <dsp:spPr>
        <a:xfrm>
          <a:off x="436588" y="153111"/>
          <a:ext cx="2695782" cy="9087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Традиционное доение</a:t>
          </a:r>
        </a:p>
      </dsp:txBody>
      <dsp:txXfrm>
        <a:off x="463204" y="179727"/>
        <a:ext cx="2642550" cy="855503"/>
      </dsp:txXfrm>
    </dsp:sp>
    <dsp:sp modelId="{DEA8840A-77E6-44EA-A43B-79AD7D75F7F8}">
      <dsp:nvSpPr>
        <dsp:cNvPr id="0" name=""/>
        <dsp:cNvSpPr/>
      </dsp:nvSpPr>
      <dsp:spPr>
        <a:xfrm>
          <a:off x="297464" y="1326994"/>
          <a:ext cx="2656013" cy="908735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B82A81-BC74-41E2-9B8B-44707E1EAAFB}">
      <dsp:nvSpPr>
        <dsp:cNvPr id="0" name=""/>
        <dsp:cNvSpPr/>
      </dsp:nvSpPr>
      <dsp:spPr>
        <a:xfrm>
          <a:off x="456472" y="1478052"/>
          <a:ext cx="2656013" cy="9087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Фиксированные промежутки времени</a:t>
          </a:r>
        </a:p>
      </dsp:txBody>
      <dsp:txXfrm>
        <a:off x="483088" y="1504668"/>
        <a:ext cx="2602781" cy="855503"/>
      </dsp:txXfrm>
    </dsp:sp>
    <dsp:sp modelId="{E2F1240C-6631-4F88-9C58-E0B687C94DB9}">
      <dsp:nvSpPr>
        <dsp:cNvPr id="0" name=""/>
        <dsp:cNvSpPr/>
      </dsp:nvSpPr>
      <dsp:spPr>
        <a:xfrm>
          <a:off x="297464" y="2651936"/>
          <a:ext cx="2656013" cy="908735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96E8D6-7944-4DD2-852F-1063A02DAA22}">
      <dsp:nvSpPr>
        <dsp:cNvPr id="0" name=""/>
        <dsp:cNvSpPr/>
      </dsp:nvSpPr>
      <dsp:spPr>
        <a:xfrm>
          <a:off x="456472" y="2802994"/>
          <a:ext cx="2656013" cy="9087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Доильные залы (елочка, параллель, карусель)</a:t>
          </a:r>
        </a:p>
      </dsp:txBody>
      <dsp:txXfrm>
        <a:off x="483088" y="2829610"/>
        <a:ext cx="2602781" cy="855503"/>
      </dsp:txXfrm>
    </dsp:sp>
    <dsp:sp modelId="{22421052-C946-4861-937B-A1084ACD0751}">
      <dsp:nvSpPr>
        <dsp:cNvPr id="0" name=""/>
        <dsp:cNvSpPr/>
      </dsp:nvSpPr>
      <dsp:spPr>
        <a:xfrm>
          <a:off x="337412" y="3978930"/>
          <a:ext cx="2576115" cy="908735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D40E06-974F-4B64-8478-6E09F73244F9}">
      <dsp:nvSpPr>
        <dsp:cNvPr id="0" name=""/>
        <dsp:cNvSpPr/>
      </dsp:nvSpPr>
      <dsp:spPr>
        <a:xfrm>
          <a:off x="496421" y="4129989"/>
          <a:ext cx="2576115" cy="9087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Доение группами</a:t>
          </a:r>
        </a:p>
      </dsp:txBody>
      <dsp:txXfrm>
        <a:off x="523037" y="4156605"/>
        <a:ext cx="2522883" cy="8555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6E2CF2-03C4-46C4-BFD7-E026B631B398}">
      <dsp:nvSpPr>
        <dsp:cNvPr id="0" name=""/>
        <dsp:cNvSpPr/>
      </dsp:nvSpPr>
      <dsp:spPr>
        <a:xfrm>
          <a:off x="0" y="0"/>
          <a:ext cx="7007225" cy="1540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Поддержка на государственном уровне</a:t>
          </a:r>
        </a:p>
      </dsp:txBody>
      <dsp:txXfrm>
        <a:off x="1555465" y="0"/>
        <a:ext cx="5451759" cy="1540205"/>
      </dsp:txXfrm>
    </dsp:sp>
    <dsp:sp modelId="{8577D533-E777-4B94-B0C0-C0612DF25530}">
      <dsp:nvSpPr>
        <dsp:cNvPr id="0" name=""/>
        <dsp:cNvSpPr/>
      </dsp:nvSpPr>
      <dsp:spPr>
        <a:xfrm>
          <a:off x="154020" y="154020"/>
          <a:ext cx="1401445" cy="123216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/>
          <a:srcRect/>
          <a:stretch>
            <a:fillRect t="-11000" b="-1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C9205-44B6-4229-B77B-7DE5AD76019D}">
      <dsp:nvSpPr>
        <dsp:cNvPr id="0" name=""/>
        <dsp:cNvSpPr/>
      </dsp:nvSpPr>
      <dsp:spPr>
        <a:xfrm>
          <a:off x="0" y="1694226"/>
          <a:ext cx="7007225" cy="1540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Квалифицированные специалисты</a:t>
          </a:r>
        </a:p>
      </dsp:txBody>
      <dsp:txXfrm>
        <a:off x="1555465" y="1694226"/>
        <a:ext cx="5451759" cy="1540205"/>
      </dsp:txXfrm>
    </dsp:sp>
    <dsp:sp modelId="{C87486DE-BD79-4505-9AA2-36C00B1694FC}">
      <dsp:nvSpPr>
        <dsp:cNvPr id="0" name=""/>
        <dsp:cNvSpPr/>
      </dsp:nvSpPr>
      <dsp:spPr>
        <a:xfrm>
          <a:off x="154020" y="1848246"/>
          <a:ext cx="1401445" cy="123216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2E7325-9EAD-466E-BB3E-BB69B1C1F114}">
      <dsp:nvSpPr>
        <dsp:cNvPr id="0" name=""/>
        <dsp:cNvSpPr/>
      </dsp:nvSpPr>
      <dsp:spPr>
        <a:xfrm>
          <a:off x="0" y="3388452"/>
          <a:ext cx="7007225" cy="15402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Генетика</a:t>
          </a:r>
        </a:p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Качественные корма</a:t>
          </a:r>
        </a:p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Комфорт</a:t>
          </a:r>
        </a:p>
      </dsp:txBody>
      <dsp:txXfrm>
        <a:off x="1555465" y="3388452"/>
        <a:ext cx="5451759" cy="1540205"/>
      </dsp:txXfrm>
    </dsp:sp>
    <dsp:sp modelId="{72DD26EA-1390-4774-9DA4-818B26E9B6C8}">
      <dsp:nvSpPr>
        <dsp:cNvPr id="0" name=""/>
        <dsp:cNvSpPr/>
      </dsp:nvSpPr>
      <dsp:spPr>
        <a:xfrm>
          <a:off x="154020" y="3542472"/>
          <a:ext cx="1401445" cy="123216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38DA4C-CB37-45F6-AE3E-117E9B4775E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B227EA-5751-4051-A07F-03BDEADBF1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656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2884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895AC2-3CA9-45FC-897F-256207571E0D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1850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895AC2-3CA9-45FC-897F-256207571E0D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087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88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5588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990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Grafik 49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C5D0D987-28F0-4CC3-BAE8-6A9E5806CA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4057" y="0"/>
            <a:ext cx="8577943" cy="6858000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953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76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3B0BBE-C8D1-4B8A-86AD-5F18CA64F4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0019EB7E-3A8A-4306-9332-7B2840685098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5748FC-EE3E-4320-997D-166154297E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57657D-7D04-4A43-B422-F6065D8AA9D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B147CD-F44C-49F4-BBD7-07B808F457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389"/>
            <a:ext cx="56515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C170A1-A61A-418F-A3F4-E4A62509A3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3325" y="2605389"/>
            <a:ext cx="5638800" cy="3344561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64265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16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827A40-2243-41D2-AAC1-26ADF3EB25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80217018-2531-4A79-A93B-8BFE156A921F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A8824A-0ACB-42C0-BB07-6429351105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E2B5BB-65FA-4E86-B566-4591BB4776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61F6F9-FC25-4A71-8BF1-274245F8F6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000" y="2605389"/>
            <a:ext cx="4032000" cy="3340100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2222672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small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89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 userDrawn="1"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DC45DE-3C3C-46B4-A3CB-33A5815FE8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8CBE0A6-A388-40B6-89CE-A7C1E5D2EECD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0EF7AF-B27F-43A3-AA77-707F7FCBD9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9D895A-F629-410E-AC2A-B842E8BD2F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95230CD-1D36-40F1-95B3-D371D01E59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59262" y="2605388"/>
            <a:ext cx="56520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1386858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>
          <p15:clr>
            <a:srgbClr val="FBAE40"/>
          </p15:clr>
        </p15:guide>
        <p15:guide id="3" pos="2479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821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/>
          <p:nvPr userDrawn="1"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B5B84EF5-2C63-4B4D-8C1F-4659BDC6CF47}"/>
              </a:ext>
            </a:extLst>
          </p:cNvPr>
          <p:cNvSpPr/>
          <p:nvPr userDrawn="1"/>
        </p:nvSpPr>
        <p:spPr bwMode="invGray">
          <a:xfrm>
            <a:off x="8450404" y="-3475"/>
            <a:ext cx="3741596" cy="6861519"/>
          </a:xfrm>
          <a:custGeom>
            <a:avLst/>
            <a:gdLst>
              <a:gd name="connsiteX0" fmla="*/ 2229661 w 3741596"/>
              <a:gd name="connsiteY0" fmla="*/ 2733771 h 6861519"/>
              <a:gd name="connsiteX1" fmla="*/ 2917201 w 3741596"/>
              <a:gd name="connsiteY1" fmla="*/ 2733771 h 6861519"/>
              <a:gd name="connsiteX2" fmla="*/ 2917201 w 3741596"/>
              <a:gd name="connsiteY2" fmla="*/ 6861519 h 6861519"/>
              <a:gd name="connsiteX3" fmla="*/ 2229661 w 3741596"/>
              <a:gd name="connsiteY3" fmla="*/ 6861519 h 6861519"/>
              <a:gd name="connsiteX4" fmla="*/ 858387 w 3741596"/>
              <a:gd name="connsiteY4" fmla="*/ 2396617 h 6861519"/>
              <a:gd name="connsiteX5" fmla="*/ 1621902 w 3741596"/>
              <a:gd name="connsiteY5" fmla="*/ 2396617 h 6861519"/>
              <a:gd name="connsiteX6" fmla="*/ 763861 w 3741596"/>
              <a:gd name="connsiteY6" fmla="*/ 4112008 h 6861519"/>
              <a:gd name="connsiteX7" fmla="*/ 0 w 3741596"/>
              <a:gd name="connsiteY7" fmla="*/ 4112008 h 6861519"/>
              <a:gd name="connsiteX8" fmla="*/ 2056349 w 3741596"/>
              <a:gd name="connsiteY8" fmla="*/ 0 h 6861519"/>
              <a:gd name="connsiteX9" fmla="*/ 3090470 w 3741596"/>
              <a:gd name="connsiteY9" fmla="*/ 0 h 6861519"/>
              <a:gd name="connsiteX10" fmla="*/ 3741596 w 3741596"/>
              <a:gd name="connsiteY10" fmla="*/ 1302800 h 6861519"/>
              <a:gd name="connsiteX11" fmla="*/ 3741596 w 3741596"/>
              <a:gd name="connsiteY11" fmla="*/ 2830876 h 6861519"/>
              <a:gd name="connsiteX12" fmla="*/ 2573431 w 3741596"/>
              <a:gd name="connsiteY12" fmla="*/ 494294 h 6861519"/>
              <a:gd name="connsiteX13" fmla="*/ 2135481 w 3741596"/>
              <a:gd name="connsiteY13" fmla="*/ 1369502 h 6861519"/>
              <a:gd name="connsiteX14" fmla="*/ 1371620 w 3741596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41596" h="6861519">
                <a:moveTo>
                  <a:pt x="2229661" y="2733771"/>
                </a:moveTo>
                <a:lnTo>
                  <a:pt x="2917201" y="2733771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7"/>
                </a:moveTo>
                <a:lnTo>
                  <a:pt x="1621902" y="2396617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741596" y="1302800"/>
                </a:lnTo>
                <a:lnTo>
                  <a:pt x="3741596" y="283087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GB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B91CBA8-3A30-4319-912F-DAE49A826C0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F6F0217-B773-40A2-BAD6-DD8D612D65E3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2AB80AD-C777-4398-89D4-114DD23D749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7BA5CCC-CF7E-4023-AAB8-4F9D6F6511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80347F-E47B-42E6-BF6D-EF72399B5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wrap="square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DC409F3-15C2-4EA9-AB91-5401A5AB68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9043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lar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19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FB547CC-EC28-4E0E-971E-3704F93507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pic>
        <p:nvPicPr>
          <p:cNvPr id="3" name="Grafik 2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FD2616D-BD55-4F15-B7AC-7E455D2103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19997" y="0"/>
            <a:ext cx="4572001" cy="68580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3225D3-78FC-40A1-A1F1-7AA2B154073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BC1F807-2521-4C97-A2E5-401C39723968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114991-A17E-465D-AECF-12FE07368C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B4B218-F60B-4903-9F66-F175BEF97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14262FF-389E-44A8-81D2-FBA0BC697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65176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sma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370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1A40FF4-C9CD-4F74-A138-76E09F6B26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6631143-6CD2-4598-9CD0-A746FA9BCACD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92BB4E-53AC-4B52-8C82-C63DBA85D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98BC8E-53C6-4DB5-9B50-698F56E94C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194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356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E60CFC4-9E30-4A3B-B662-BE9F685674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620000" y="0"/>
            <a:ext cx="4572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BEDB8C-86A8-4C72-9617-3D972145DF7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FFA86412-765B-4449-B3DF-3F61FD3AEECC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B54211-391E-47DC-BF9F-7FA9EA133A2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E94535-1C60-46E6-8C2F-C9828D82CE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FCE8-D0F7-4D5F-9CDF-5EF68D204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864C45-E0B0-4D47-BD53-91CC103216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539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585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pic>
        <p:nvPicPr>
          <p:cNvPr id="6" name="Grafik 5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07BDFB63-EE62-42C1-9F45-01837B8F7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13B3B991-81CC-48CB-A5D9-95CF0FA3AD12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798EE-1C7F-4231-8AAD-19CAD94B4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2DEBE81-7B6B-4ADF-B7DB-8AACC43BC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582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arrow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66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FE9916C-A4E1-44D5-A9A2-B50809A41F83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1D1A5D-2283-410B-9E37-E96675064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E97865-F960-4F8F-96C4-D08D25C9DA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6662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white - pattern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72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pic>
        <p:nvPicPr>
          <p:cNvPr id="14" name="Grafik 13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5540075-B01C-45B5-BBB4-25141308C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F348A84-AD3B-445A-B1E6-58D3C129A60D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4303F9-48AE-4CC9-94B8-F7953FA25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336E8B-B380-4F55-B3FD-A8003FCD0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5321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213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46622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933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BD150A0-0284-43CE-B4E0-BE249A339D56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75BFBF-A250-4746-A32C-35C6A715E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5A1254-52BD-447B-B318-FDF9B893EA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2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723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2805F5-06CE-4348-A1F9-BF670A9B853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CEBEE33-205A-43AB-81E3-C00C106542E4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AD82894-4E7C-4FF2-87D4-2C601C3628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D623280-8450-4A1B-9617-8BF985EFD52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CA1F3B6-A97A-47EE-991B-1314BC0F8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GB" dirty="0"/>
              <a:t>CHAPTER SLIDE </a:t>
            </a:r>
            <a:br>
              <a:rPr lang="en-GB" dirty="0"/>
            </a:br>
            <a:r>
              <a:rPr lang="en-GB" dirty="0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C0781-E49D-47FA-BA90-FA87BB6107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56610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382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 </a:t>
            </a:r>
            <a:r>
              <a:rPr lang="en-GB" dirty="0"/>
              <a:t>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49D087-F4ED-424A-931A-61F63F962B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738D7FBB-1FB2-43B8-B47F-9F869371CC55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4651464-1791-4D7F-B9EE-E471643D31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60902CC-7D63-44DC-806E-574173E7A0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C5D895-28C4-4B86-A0EC-906A17671C6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1166495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820665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90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err="1"/>
              <a:t>Subheadline</a:t>
            </a:r>
            <a:r>
              <a:rPr lang="en-GB" dirty="0"/>
              <a:t>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202A20E-AD24-4C09-A31C-70CC298BB47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EB56B6FE-2518-40D3-B990-74AF6A7A2A84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F33CD6A-6E9C-4046-9EFD-29FFB3ADA6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CA531-50E1-459F-9902-226C79E48A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20C5181-D230-4E7B-9815-0404DB7CF4C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8F86F89-DEAE-4DDE-8897-CBED0ACF896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30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4000331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55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err="1"/>
              <a:t>Subheadline</a:t>
            </a:r>
            <a:r>
              <a:rPr lang="en-GB" dirty="0"/>
              <a:t>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476E977-B283-41A4-A64E-A5140E7F076E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47A41DD-F5FB-4463-81C4-5544710E4A2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7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523357-129A-4D5A-B1F8-45EB1EF8015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4C6F04E-A06C-46A7-923B-A4C78431FA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6876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38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7506E5E-E6D2-410C-8351-E1402ED2C7F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7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GB"/>
              <a:t>Headline Inter Medium bold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err="1"/>
              <a:t>Subheadline</a:t>
            </a:r>
            <a:r>
              <a:rPr lang="en-GB" dirty="0"/>
              <a:t>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2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26AFF5D4-C8F2-4A8E-BCBF-E70F0E4B85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77D51EF-AD36-4E91-B118-0722195C1587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E27BBFCD-08EE-446E-8CDF-2A38890B78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7DE4462-9FDC-4399-B396-EAA162F607C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C9AA55-153A-48B5-9FD1-9F6DC42F82C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0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211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34F4A8EE-9682-47B2-8EA8-33DB4E9CCB5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8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GB" dirty="0"/>
              <a:t>Headline Inter Medium bold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3088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BF294DF-DAFC-42FF-BBAC-51DAA239F35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09B9324C-2C9A-4D24-BE60-19FC6C097FB0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673AD8A-8F22-467C-A617-15D2C69FC6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9CB0FF0-C14E-4567-8E9E-F2E7191594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E2A9B68-DB9E-48EB-B87D-D33ECC31E8D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15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C7D69FD-CF0F-41C1-877A-74075006E8B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15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79661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908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FCBA4DC-DD44-4105-992E-61C964A702E4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D27395-3F27-41C0-996C-1E32579BE62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5BBCF9-0800-4F77-B2EF-E97E279E65D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F5BEEB53-DF1B-4C20-9973-2B5AAFCCD30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03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477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810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4AD4C86-8B13-4FCD-966D-856B66F5CD0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8000" y="0"/>
            <a:ext cx="4104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FBA8F45-9EAE-4084-B90A-9BA9DADED92B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7C92EA-99DA-4F08-BCA6-FEEF81DEE9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4112BB7-D218-4D9F-87BF-7FAE2DDB1DF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4338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454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pic>
        <p:nvPicPr>
          <p:cNvPr id="16" name="Grafik 15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74C1059C-7582-4CB3-B8EE-C027A5FC4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"/>
          <a:stretch/>
        </p:blipFill>
        <p:spPr>
          <a:xfrm flipH="1">
            <a:off x="8088000" y="590018"/>
            <a:ext cx="4104000" cy="626798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ADBE696-F2D0-4746-8F0B-27445165E3BA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0142F50-7DA1-44CF-B670-5CE7B413E89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1F52021-9479-4A18-985F-4AA1F4BFF19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400132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04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 dirty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3140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431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9213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9213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76BBEB8-9136-4964-AFD7-C8F311FB46A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3D6006C-EB36-413E-82E4-E7968928515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00F170F-5283-46F8-9471-AD2C1776A4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825" y="0"/>
            <a:ext cx="4107175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FC38854C-55F3-4185-AAE5-755415DF0B90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228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169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 userDrawn="1"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754AE76-E44D-4BDB-B56D-4E84F5301E0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E6F7972-255E-4F1F-BDCF-CBD81B2AEB9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20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44EC2A9-9A8F-4864-8FFB-F38AFCEF6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9511E75-FD2F-4492-97BC-40C6479D0897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1447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102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258B2BD-D15E-4AB6-BCD4-4AB908E0990A}"/>
              </a:ext>
            </a:extLst>
          </p:cNvPr>
          <p:cNvSpPr/>
          <p:nvPr userDrawn="1"/>
        </p:nvSpPr>
        <p:spPr bwMode="gray">
          <a:xfrm>
            <a:off x="8735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07EFD741-3FFB-4024-9EE2-14F46DB0AA73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FB5618-E9E5-4E49-B1E3-45D3FC9B4A0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7C348BD-FDFC-4C3B-89DE-8FD4B5865E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1725618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893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 userDrawn="1"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2E805C6-E84D-4A07-888B-9FB9BFDEAC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156700" y="0"/>
            <a:ext cx="303530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FBBEE1D7-855C-42E2-824D-C2F5CC4DB569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C2235D-F704-4B72-A322-852CF4D34C0E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47762F-19CC-4D61-998C-18AA8D80B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  <a:p>
            <a:pPr lvl="4"/>
            <a:endParaRPr lang="en-GB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50C7F3C-6233-46AB-90D6-55147795146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340895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3 columns &amp;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56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60D3253F-591C-454A-8B6E-F58F4DEC7A8B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BA2009F8-231F-4A0F-ADDC-7EDBDAA459FF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59263" y="1449386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marL="900000" indent="0">
              <a:buNone/>
              <a:defRPr/>
            </a:lvl6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696ACA37-06DB-4106-9D64-1CA98A588E41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255000" y="1449387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marL="900000" indent="0">
              <a:buNone/>
              <a:defRPr/>
            </a:lvl6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1BA55846-8CAC-49BD-8143-FA6B69F8767F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63525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marL="900000" indent="0">
              <a:buNone/>
              <a:defRPr/>
            </a:lvl6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2EDA8475-E04B-4B64-B4D1-4F5E765A16D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59263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34DE9313-5FC6-4736-A450-A8B7D37DFAD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256588" y="3861948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marL="900000" indent="0">
              <a:buNone/>
              <a:defRPr/>
            </a:lvl6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03E3EE-BFBE-4BAC-A4E1-86A6180AE33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3525" y="1449388"/>
            <a:ext cx="3671888" cy="2087999"/>
          </a:xfrm>
        </p:spPr>
        <p:txBody>
          <a:bodyPr/>
          <a:lstStyle>
            <a:lvl6pPr marL="900000" indent="0">
              <a:buNone/>
              <a:defRPr/>
            </a:lvl6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87023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patter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68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0D860DB4-33F9-4EFE-8C75-43D7323C73AB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6C6F6E-3D67-4796-8249-6923FB4D5C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pic>
        <p:nvPicPr>
          <p:cNvPr id="18" name="Grafik 17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0989CB71-08CE-47D2-B781-E7E59E455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"/>
          <a:stretch/>
        </p:blipFill>
        <p:spPr>
          <a:xfrm flipH="1">
            <a:off x="0" y="590018"/>
            <a:ext cx="4104000" cy="6267982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25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17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GB" sz="1400" dirty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E19D339-24A5-4AFB-8A0D-01FC286BBA93}"/>
              </a:ext>
            </a:extLst>
          </p:cNvPr>
          <p:cNvSpPr>
            <a:spLocks/>
          </p:cNvSpPr>
          <p:nvPr userDrawn="1"/>
        </p:nvSpPr>
        <p:spPr bwMode="gray">
          <a:xfrm>
            <a:off x="647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F468782D-3F39-47A7-8D14-BBF17CE2C272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4DB5C8-1242-4218-B406-524CDEEE870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3349441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2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9ECB866-6BC4-476E-A243-AAEEEE98FD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4103688" cy="6858000"/>
          </a:xfrm>
          <a:custGeom>
            <a:avLst/>
            <a:gdLst>
              <a:gd name="connsiteX0" fmla="*/ 644822 w 4103688"/>
              <a:gd name="connsiteY0" fmla="*/ 6525737 h 6858000"/>
              <a:gd name="connsiteX1" fmla="*/ 620244 w 4103688"/>
              <a:gd name="connsiteY1" fmla="*/ 6574870 h 6858000"/>
              <a:gd name="connsiteX2" fmla="*/ 647589 w 4103688"/>
              <a:gd name="connsiteY2" fmla="*/ 6574870 h 6858000"/>
              <a:gd name="connsiteX3" fmla="*/ 663359 w 4103688"/>
              <a:gd name="connsiteY3" fmla="*/ 6543410 h 6858000"/>
              <a:gd name="connsiteX4" fmla="*/ 728153 w 4103688"/>
              <a:gd name="connsiteY4" fmla="*/ 6673136 h 6858000"/>
              <a:gd name="connsiteX5" fmla="*/ 755498 w 4103688"/>
              <a:gd name="connsiteY5" fmla="*/ 6673136 h 6858000"/>
              <a:gd name="connsiteX6" fmla="*/ 681699 w 4103688"/>
              <a:gd name="connsiteY6" fmla="*/ 6525737 h 6858000"/>
              <a:gd name="connsiteX7" fmla="*/ 448200 w 4103688"/>
              <a:gd name="connsiteY7" fmla="*/ 6525716 h 6858000"/>
              <a:gd name="connsiteX8" fmla="*/ 448200 w 4103688"/>
              <a:gd name="connsiteY8" fmla="*/ 6574871 h 6858000"/>
              <a:gd name="connsiteX9" fmla="*/ 472778 w 4103688"/>
              <a:gd name="connsiteY9" fmla="*/ 6574871 h 6858000"/>
              <a:gd name="connsiteX10" fmla="*/ 472778 w 4103688"/>
              <a:gd name="connsiteY10" fmla="*/ 6550305 h 6858000"/>
              <a:gd name="connsiteX11" fmla="*/ 558811 w 4103688"/>
              <a:gd name="connsiteY11" fmla="*/ 6550305 h 6858000"/>
              <a:gd name="connsiteX12" fmla="*/ 558811 w 4103688"/>
              <a:gd name="connsiteY12" fmla="*/ 6525738 h 6858000"/>
              <a:gd name="connsiteX13" fmla="*/ 343191 w 4103688"/>
              <a:gd name="connsiteY13" fmla="*/ 6525716 h 6858000"/>
              <a:gd name="connsiteX14" fmla="*/ 269875 w 4103688"/>
              <a:gd name="connsiteY14" fmla="*/ 6599460 h 6858000"/>
              <a:gd name="connsiteX15" fmla="*/ 343191 w 4103688"/>
              <a:gd name="connsiteY15" fmla="*/ 6673137 h 6858000"/>
              <a:gd name="connsiteX16" fmla="*/ 411345 w 4103688"/>
              <a:gd name="connsiteY16" fmla="*/ 6673137 h 6858000"/>
              <a:gd name="connsiteX17" fmla="*/ 411345 w 4103688"/>
              <a:gd name="connsiteY17" fmla="*/ 6611710 h 6858000"/>
              <a:gd name="connsiteX18" fmla="*/ 448201 w 4103688"/>
              <a:gd name="connsiteY18" fmla="*/ 6611710 h 6858000"/>
              <a:gd name="connsiteX19" fmla="*/ 448201 w 4103688"/>
              <a:gd name="connsiteY19" fmla="*/ 6673115 h 6858000"/>
              <a:gd name="connsiteX20" fmla="*/ 546511 w 4103688"/>
              <a:gd name="connsiteY20" fmla="*/ 6673115 h 6858000"/>
              <a:gd name="connsiteX21" fmla="*/ 558789 w 4103688"/>
              <a:gd name="connsiteY21" fmla="*/ 6648549 h 6858000"/>
              <a:gd name="connsiteX22" fmla="*/ 472778 w 4103688"/>
              <a:gd name="connsiteY22" fmla="*/ 6648549 h 6858000"/>
              <a:gd name="connsiteX23" fmla="*/ 472778 w 4103688"/>
              <a:gd name="connsiteY23" fmla="*/ 6611710 h 6858000"/>
              <a:gd name="connsiteX24" fmla="*/ 601663 w 4103688"/>
              <a:gd name="connsiteY24" fmla="*/ 6611710 h 6858000"/>
              <a:gd name="connsiteX25" fmla="*/ 571089 w 4103688"/>
              <a:gd name="connsiteY25" fmla="*/ 6673115 h 6858000"/>
              <a:gd name="connsiteX26" fmla="*/ 598412 w 4103688"/>
              <a:gd name="connsiteY26" fmla="*/ 6673115 h 6858000"/>
              <a:gd name="connsiteX27" fmla="*/ 629140 w 4103688"/>
              <a:gd name="connsiteY27" fmla="*/ 6611710 h 6858000"/>
              <a:gd name="connsiteX28" fmla="*/ 681678 w 4103688"/>
              <a:gd name="connsiteY28" fmla="*/ 6611710 h 6858000"/>
              <a:gd name="connsiteX29" fmla="*/ 669400 w 4103688"/>
              <a:gd name="connsiteY29" fmla="*/ 6587165 h 6858000"/>
              <a:gd name="connsiteX30" fmla="*/ 349890 w 4103688"/>
              <a:gd name="connsiteY30" fmla="*/ 6587143 h 6858000"/>
              <a:gd name="connsiteX31" fmla="*/ 337612 w 4103688"/>
              <a:gd name="connsiteY31" fmla="*/ 6611710 h 6858000"/>
              <a:gd name="connsiteX32" fmla="*/ 386767 w 4103688"/>
              <a:gd name="connsiteY32" fmla="*/ 6611710 h 6858000"/>
              <a:gd name="connsiteX33" fmla="*/ 386767 w 4103688"/>
              <a:gd name="connsiteY33" fmla="*/ 6648549 h 6858000"/>
              <a:gd name="connsiteX34" fmla="*/ 343191 w 4103688"/>
              <a:gd name="connsiteY34" fmla="*/ 6648549 h 6858000"/>
              <a:gd name="connsiteX35" fmla="*/ 294343 w 4103688"/>
              <a:gd name="connsiteY35" fmla="*/ 6599438 h 6858000"/>
              <a:gd name="connsiteX36" fmla="*/ 343191 w 4103688"/>
              <a:gd name="connsiteY36" fmla="*/ 6550305 h 6858000"/>
              <a:gd name="connsiteX37" fmla="*/ 399001 w 4103688"/>
              <a:gd name="connsiteY37" fmla="*/ 6550305 h 6858000"/>
              <a:gd name="connsiteX38" fmla="*/ 399001 w 4103688"/>
              <a:gd name="connsiteY38" fmla="*/ 6525716 h 6858000"/>
              <a:gd name="connsiteX39" fmla="*/ 0 w 4103688"/>
              <a:gd name="connsiteY39" fmla="*/ 0 h 6858000"/>
              <a:gd name="connsiteX40" fmla="*/ 4103688 w 4103688"/>
              <a:gd name="connsiteY40" fmla="*/ 0 h 6858000"/>
              <a:gd name="connsiteX41" fmla="*/ 4103688 w 4103688"/>
              <a:gd name="connsiteY41" fmla="*/ 6858000 h 6858000"/>
              <a:gd name="connsiteX42" fmla="*/ 0 w 4103688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103688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4103688" y="0"/>
                </a:lnTo>
                <a:lnTo>
                  <a:pt x="41036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Headline Inter Medium bold 30pt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Подзаголовок: шрифт</a:t>
            </a:r>
            <a:r>
              <a:rPr lang="en-GB" dirty="0"/>
              <a:t>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dirty="0"/>
              <a:t>1 Footnote | 2 Footnote</a:t>
            </a:r>
          </a:p>
          <a:p>
            <a:pPr lvl="0"/>
            <a:r>
              <a:rPr lang="en-GB" dirty="0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56CB12AD-DBD9-4F7B-9C61-CD4A5BABF1B1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26D4A1-D6CF-4C7C-ABDC-C599E88E620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842" y="1449388"/>
            <a:ext cx="7668633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226096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850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4572000"/>
            <a:ext cx="4063998" cy="2286000"/>
          </a:xfrm>
          <a:solidFill>
            <a:schemeClr val="bg1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/>
              <a:t>Key message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6FA92EE7-FF24-4922-B0CA-4B2E5A211412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830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054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0"/>
            <a:ext cx="4063998" cy="3429000"/>
          </a:xfrm>
          <a:solidFill>
            <a:schemeClr val="bg1"/>
          </a:solidFill>
        </p:spPr>
        <p:txBody>
          <a:bodyPr lIns="180000" tIns="396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/>
              <a:t>Key message, </a:t>
            </a:r>
            <a:br>
              <a:rPr lang="en-GB"/>
            </a:br>
            <a:r>
              <a:rPr lang="en-GB"/>
              <a:t>Inter Regular 30pt</a:t>
            </a:r>
            <a:endParaRPr lang="en-GB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C9BDFF9-3CEC-41C2-971A-AC0A22305419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EBA2251-0662-4E1C-9A8B-7CA846C2588B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7E30F02-B4DF-46EF-A9AC-04DB0E722DB4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0BE5405B-6500-48A7-AC71-6A56FD7F06B9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2407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442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19634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blu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05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0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3429000"/>
            <a:ext cx="4063998" cy="3428999"/>
          </a:xfrm>
          <a:solidFill>
            <a:schemeClr val="tx2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/>
              <a:t>Key message, </a:t>
            </a:r>
            <a:br>
              <a:rPr lang="en-GB"/>
            </a:br>
            <a:r>
              <a:rPr lang="en-GB"/>
              <a:t>Inter Regular 30pt</a:t>
            </a:r>
            <a:endParaRPr lang="en-GB" dirty="0"/>
          </a:p>
        </p:txBody>
      </p:sp>
      <p:sp>
        <p:nvSpPr>
          <p:cNvPr id="8" name="Datumsplatzhalter 12">
            <a:extLst>
              <a:ext uri="{FF2B5EF4-FFF2-40B4-BE49-F238E27FC236}">
                <a16:creationId xmlns:a16="http://schemas.microsoft.com/office/drawing/2014/main" id="{87C8E56A-7FB9-4ACD-A96D-8FD24A5D65CC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635756" y="6584135"/>
            <a:ext cx="936000" cy="107722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D7647BC-E1D1-474F-B8F6-BDFD056683F9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9" name="Fußzeilenplatzhalter 13">
            <a:extLst>
              <a:ext uri="{FF2B5EF4-FFF2-40B4-BE49-F238E27FC236}">
                <a16:creationId xmlns:a16="http://schemas.microsoft.com/office/drawing/2014/main" id="{2BBC58B9-68C9-4DA8-A2E6-B29F2E82B37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38597" y="6584135"/>
            <a:ext cx="4114800" cy="107722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F401CE08-E194-4ED1-9ED2-A2E153F6940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1640475" y="6584135"/>
            <a:ext cx="288000" cy="107722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2190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&amp; 6 box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92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7597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FC39CA-AAF4-4A62-AFEB-B29DAD367B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78853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188615B-9C91-4199-B609-15D85C9966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E151CCA-BDEA-4728-997C-454B41E37D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07597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6E0D2A1-47C3-4004-BF20-803FEAD69B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78853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3BE4DC-070F-49A9-A446-C60D47848A0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44000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Focus, </a:t>
            </a:r>
            <a:br>
              <a:rPr lang="en-GB"/>
            </a:br>
            <a:r>
              <a:rPr lang="en-GB"/>
              <a:t>Inter Regular 20pt</a:t>
            </a:r>
            <a:endParaRPr lang="en-GB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EDA94DC1-5204-4196-99D6-7C53D00F1B27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322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63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dirty="0"/>
              <a:t>THANK YOU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2FD2708-3781-4969-B744-5FB931768129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83711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768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dirty="0"/>
              <a:t>THANK YOU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DC50D532-84EF-425A-9D6B-68F723EA8BE2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231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717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 userDrawn="1"/>
        </p:nvGrpSpPr>
        <p:grpSpPr bwMode="black"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bg1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 bwMode="black"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 bwMode="black"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 bwMode="black"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 bwMode="black"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 bwMode="black"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 bwMode="black"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 bwMode="black"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 bwMode="black"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 bwMode="black"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 bwMode="black"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 bwMode="black"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 bwMode="black"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 bwMode="black"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 bwMode="black"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 bwMode="black"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 bwMode="black"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 bwMode="black"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 bwMode="black"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 bwMode="black"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 bwMode="black"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 bwMode="black"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 bwMode="black"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 bwMode="black"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 bwMode="black"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 bwMode="black"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 bwMode="black"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 bwMode="black"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 bwMode="black"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 bwMode="black"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 bwMode="black"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 bwMode="black"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 bwMode="black"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1200" dirty="0">
                <a:solidFill>
                  <a:schemeClr val="bg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5823595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935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9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 userDrawn="1"/>
        </p:nvGrpSpPr>
        <p:grpSpPr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tx2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1200" dirty="0">
                <a:solidFill>
                  <a:schemeClr val="accent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14322648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blu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22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4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/>
              <a:t>Headline Inter Medium bold 30pt</a:t>
            </a:r>
            <a:endParaRPr lang="ru-RU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Subheadline optional Inter Medium 20pt</a:t>
            </a:r>
            <a:endParaRPr lang="ru-RU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1 Footnote | 2 Footnote</a:t>
            </a:r>
          </a:p>
          <a:p>
            <a:pPr lvl="0"/>
            <a:r>
              <a:rPr lang="ru-RU"/>
              <a:t>Source: Here is the source </a:t>
            </a:r>
            <a:endParaRPr lang="ru-RU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245628C-1268-4B37-94B8-26D363E4FDD7}" type="datetime4">
              <a:rPr lang="en-GB" smtClean="0"/>
              <a:t>20 May 2022</a:t>
            </a:fld>
            <a:endParaRPr lang="ru-RU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ru-RU"/>
              <a:t>XIII МОЛОЧНАЯ ОЛИМПИАДА_Алматы_GEA</a:t>
            </a:r>
            <a:endParaRPr lang="ru-RU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D27395-3F27-41C0-996C-1E32579BE62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ru-RU" noProof="0"/>
              <a:t>First text level Inter, 14pt</a:t>
            </a:r>
          </a:p>
          <a:p>
            <a:pPr lvl="1"/>
            <a:r>
              <a:rPr lang="ru-RU" noProof="0"/>
              <a:t>Second text level Inter, 14pt</a:t>
            </a:r>
          </a:p>
          <a:p>
            <a:pPr lvl="2"/>
            <a:r>
              <a:rPr lang="ru-RU" noProof="0"/>
              <a:t>Third text level Inter, 14pt</a:t>
            </a:r>
          </a:p>
          <a:p>
            <a:pPr lvl="3"/>
            <a:r>
              <a:rPr lang="ru-RU" noProof="0"/>
              <a:t>Fourth text level Inter, 14pt</a:t>
            </a:r>
          </a:p>
          <a:p>
            <a:pPr lvl="4"/>
            <a:r>
              <a:rPr lang="ru-RU" noProof="0"/>
              <a:t>Fifth text level Inter, 14pt</a:t>
            </a:r>
          </a:p>
          <a:p>
            <a:pPr lvl="5"/>
            <a:r>
              <a:rPr lang="ru-RU" noProof="0"/>
              <a:t>Sixth text level Inter, 14pt</a:t>
            </a:r>
          </a:p>
          <a:p>
            <a:pPr lvl="6"/>
            <a:r>
              <a:rPr lang="ru-RU" noProof="0"/>
              <a:t>Eight text level Inter, 14pt</a:t>
            </a:r>
          </a:p>
          <a:p>
            <a:pPr lvl="7"/>
            <a:r>
              <a:rPr lang="ru-RU" noProof="0"/>
              <a:t>Ninth text level Inter, 14pt</a:t>
            </a:r>
            <a:endParaRPr lang="ru-RU" noProof="0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5BBCF9-0800-4F77-B2EF-E97E279E65D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ru-RU" noProof="0"/>
              <a:t>First text level Inter, 14pt</a:t>
            </a:r>
          </a:p>
          <a:p>
            <a:pPr lvl="1"/>
            <a:r>
              <a:rPr lang="ru-RU" noProof="0"/>
              <a:t>Second text level Inter, 14pt</a:t>
            </a:r>
          </a:p>
          <a:p>
            <a:pPr lvl="2"/>
            <a:r>
              <a:rPr lang="ru-RU" noProof="0"/>
              <a:t>Third text level Inter, 14pt</a:t>
            </a:r>
          </a:p>
          <a:p>
            <a:pPr lvl="3"/>
            <a:r>
              <a:rPr lang="ru-RU" noProof="0"/>
              <a:t>Fourth text level Inter, 14pt</a:t>
            </a:r>
          </a:p>
          <a:p>
            <a:pPr lvl="4"/>
            <a:r>
              <a:rPr lang="ru-RU" noProof="0"/>
              <a:t>Fifth text level Inter, 14pt</a:t>
            </a:r>
          </a:p>
          <a:p>
            <a:pPr lvl="5"/>
            <a:r>
              <a:rPr lang="ru-RU" noProof="0"/>
              <a:t>Sixth text level Inter, 14pt</a:t>
            </a:r>
          </a:p>
          <a:p>
            <a:pPr lvl="6"/>
            <a:r>
              <a:rPr lang="ru-RU" noProof="0"/>
              <a:t>Eight text level Inter, 14pt</a:t>
            </a:r>
          </a:p>
          <a:p>
            <a:pPr lvl="7"/>
            <a:r>
              <a:rPr lang="ru-RU" noProof="0"/>
              <a:t>Ninth text level Inter, 14pt</a:t>
            </a:r>
            <a:endParaRPr lang="ru-RU" noProof="0" dirty="0"/>
          </a:p>
        </p:txBody>
      </p:sp>
      <p:sp>
        <p:nvSpPr>
          <p:cNvPr id="13" name="Rechteck 2">
            <a:extLst>
              <a:ext uri="{FF2B5EF4-FFF2-40B4-BE49-F238E27FC236}">
                <a16:creationId xmlns:a16="http://schemas.microsoft.com/office/drawing/2014/main" id="{40FC21BD-814B-4D9B-833E-E63A0DA7982B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ru-RU" sz="1400" dirty="0"/>
          </a:p>
        </p:txBody>
      </p:sp>
      <p:pic>
        <p:nvPicPr>
          <p:cNvPr id="14" name="Grafik 15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D711C44F-E36F-4898-9539-954297ED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4358" t="-253"/>
          <a:stretch/>
        </p:blipFill>
        <p:spPr>
          <a:xfrm flipH="1">
            <a:off x="8088000" y="590018"/>
            <a:ext cx="4104000" cy="626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58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line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431799" y="1797050"/>
            <a:ext cx="10847916" cy="4512735"/>
          </a:xfrm>
        </p:spPr>
        <p:txBody>
          <a:bodyPr/>
          <a:lstStyle>
            <a:lvl2pPr marL="479976" indent="-241289">
              <a:buFont typeface="Symbol" panose="05050102010706020507" pitchFamily="18" charset="2"/>
              <a:buChar char="-"/>
              <a:defRPr/>
            </a:lvl2pPr>
            <a:lvl4pPr marL="959976" indent="-239994">
              <a:defRPr/>
            </a:lvl4pPr>
            <a:lvl5pPr marL="1199970">
              <a:defRPr/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31799" y="1221317"/>
            <a:ext cx="10847916" cy="360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2133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defTabSz="914377" latinLnBrk="0">
              <a:spcBef>
                <a:spcPts val="1000"/>
              </a:spcBef>
              <a:buNone/>
            </a:pPr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31800" y="165101"/>
            <a:ext cx="8447617" cy="461665"/>
          </a:xfrm>
        </p:spPr>
        <p:txBody>
          <a:bodyPr/>
          <a:lstStyle/>
          <a:p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1088555" y="6498153"/>
            <a:ext cx="525596" cy="205121"/>
          </a:xfrm>
        </p:spPr>
        <p:txBody>
          <a:bodyPr/>
          <a:lstStyle>
            <a:lvl1pPr algn="r">
              <a:defRPr sz="1333" b="1"/>
            </a:lvl1pPr>
          </a:lstStyle>
          <a:p>
            <a:fld id="{D46619FA-62B9-4C58-8D46-9877ED4AF800}" type="slidenum">
              <a:rPr lang="en-GB" smtClean="0"/>
              <a:pPr/>
              <a:t>‹#›</a:t>
            </a:fld>
            <a:r>
              <a:rPr lang="en-GB" dirty="0"/>
              <a:t>  </a:t>
            </a:r>
          </a:p>
        </p:txBody>
      </p:sp>
      <p:sp>
        <p:nvSpPr>
          <p:cNvPr id="9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431802" y="6542807"/>
            <a:ext cx="6432285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de-DE" sz="10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535697" y="6509495"/>
            <a:ext cx="1824204" cy="18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0E1C3D6-387C-451D-8933-D88B39CEF9FF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2" y="5973234"/>
            <a:ext cx="10847916" cy="33608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67" u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1. Footnote</a:t>
            </a:r>
            <a:br>
              <a:rPr lang="en-GB" dirty="0"/>
            </a:br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54519662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114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 dirty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9348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34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0EF3031C-4C4A-429D-A5A5-4A3422917A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207875" cy="6858000"/>
          </a:xfrm>
          <a:custGeom>
            <a:avLst/>
            <a:gdLst>
              <a:gd name="connsiteX0" fmla="*/ 1370601 w 12207875"/>
              <a:gd name="connsiteY0" fmla="*/ 502108 h 6858000"/>
              <a:gd name="connsiteX1" fmla="*/ 1366222 w 12207875"/>
              <a:gd name="connsiteY1" fmla="*/ 503926 h 6858000"/>
              <a:gd name="connsiteX2" fmla="*/ 1364392 w 12207875"/>
              <a:gd name="connsiteY2" fmla="*/ 508279 h 6858000"/>
              <a:gd name="connsiteX3" fmla="*/ 1366222 w 12207875"/>
              <a:gd name="connsiteY3" fmla="*/ 512660 h 6858000"/>
              <a:gd name="connsiteX4" fmla="*/ 1370601 w 12207875"/>
              <a:gd name="connsiteY4" fmla="*/ 514478 h 6858000"/>
              <a:gd name="connsiteX5" fmla="*/ 1373733 w 12207875"/>
              <a:gd name="connsiteY5" fmla="*/ 513652 h 6858000"/>
              <a:gd name="connsiteX6" fmla="*/ 1376006 w 12207875"/>
              <a:gd name="connsiteY6" fmla="*/ 511393 h 6858000"/>
              <a:gd name="connsiteX7" fmla="*/ 1376865 w 12207875"/>
              <a:gd name="connsiteY7" fmla="*/ 508279 h 6858000"/>
              <a:gd name="connsiteX8" fmla="*/ 1375036 w 12207875"/>
              <a:gd name="connsiteY8" fmla="*/ 503926 h 6858000"/>
              <a:gd name="connsiteX9" fmla="*/ 1370601 w 12207875"/>
              <a:gd name="connsiteY9" fmla="*/ 502108 h 6858000"/>
              <a:gd name="connsiteX10" fmla="*/ 1329413 w 12207875"/>
              <a:gd name="connsiteY10" fmla="*/ 473511 h 6858000"/>
              <a:gd name="connsiteX11" fmla="*/ 1336287 w 12207875"/>
              <a:gd name="connsiteY11" fmla="*/ 475577 h 6858000"/>
              <a:gd name="connsiteX12" fmla="*/ 1340499 w 12207875"/>
              <a:gd name="connsiteY12" fmla="*/ 481363 h 6858000"/>
              <a:gd name="connsiteX13" fmla="*/ 1341941 w 12207875"/>
              <a:gd name="connsiteY13" fmla="*/ 490041 h 6858000"/>
              <a:gd name="connsiteX14" fmla="*/ 1340472 w 12207875"/>
              <a:gd name="connsiteY14" fmla="*/ 498885 h 6858000"/>
              <a:gd name="connsiteX15" fmla="*/ 1336231 w 12207875"/>
              <a:gd name="connsiteY15" fmla="*/ 504780 h 6858000"/>
              <a:gd name="connsiteX16" fmla="*/ 1329413 w 12207875"/>
              <a:gd name="connsiteY16" fmla="*/ 506901 h 6858000"/>
              <a:gd name="connsiteX17" fmla="*/ 1322456 w 12207875"/>
              <a:gd name="connsiteY17" fmla="*/ 504697 h 6858000"/>
              <a:gd name="connsiteX18" fmla="*/ 1318215 w 12207875"/>
              <a:gd name="connsiteY18" fmla="*/ 498664 h 6858000"/>
              <a:gd name="connsiteX19" fmla="*/ 1316774 w 12207875"/>
              <a:gd name="connsiteY19" fmla="*/ 490069 h 6858000"/>
              <a:gd name="connsiteX20" fmla="*/ 1318187 w 12207875"/>
              <a:gd name="connsiteY20" fmla="*/ 481611 h 6858000"/>
              <a:gd name="connsiteX21" fmla="*/ 1322400 w 12207875"/>
              <a:gd name="connsiteY21" fmla="*/ 475688 h 6858000"/>
              <a:gd name="connsiteX22" fmla="*/ 1329413 w 12207875"/>
              <a:gd name="connsiteY22" fmla="*/ 473511 h 6858000"/>
              <a:gd name="connsiteX23" fmla="*/ 1220844 w 12207875"/>
              <a:gd name="connsiteY23" fmla="*/ 473428 h 6858000"/>
              <a:gd name="connsiteX24" fmla="*/ 1228078 w 12207875"/>
              <a:gd name="connsiteY24" fmla="*/ 475742 h 6858000"/>
              <a:gd name="connsiteX25" fmla="*/ 1232346 w 12207875"/>
              <a:gd name="connsiteY25" fmla="*/ 481886 h 6858000"/>
              <a:gd name="connsiteX26" fmla="*/ 1233732 w 12207875"/>
              <a:gd name="connsiteY26" fmla="*/ 490261 h 6858000"/>
              <a:gd name="connsiteX27" fmla="*/ 1232346 w 12207875"/>
              <a:gd name="connsiteY27" fmla="*/ 498664 h 6858000"/>
              <a:gd name="connsiteX28" fmla="*/ 1228078 w 12207875"/>
              <a:gd name="connsiteY28" fmla="*/ 504780 h 6858000"/>
              <a:gd name="connsiteX29" fmla="*/ 1220844 w 12207875"/>
              <a:gd name="connsiteY29" fmla="*/ 507067 h 6858000"/>
              <a:gd name="connsiteX30" fmla="*/ 1213554 w 12207875"/>
              <a:gd name="connsiteY30" fmla="*/ 504780 h 6858000"/>
              <a:gd name="connsiteX31" fmla="*/ 1209285 w 12207875"/>
              <a:gd name="connsiteY31" fmla="*/ 498664 h 6858000"/>
              <a:gd name="connsiteX32" fmla="*/ 1207900 w 12207875"/>
              <a:gd name="connsiteY32" fmla="*/ 490261 h 6858000"/>
              <a:gd name="connsiteX33" fmla="*/ 1209285 w 12207875"/>
              <a:gd name="connsiteY33" fmla="*/ 481886 h 6858000"/>
              <a:gd name="connsiteX34" fmla="*/ 1213554 w 12207875"/>
              <a:gd name="connsiteY34" fmla="*/ 475742 h 6858000"/>
              <a:gd name="connsiteX35" fmla="*/ 1220844 w 12207875"/>
              <a:gd name="connsiteY35" fmla="*/ 473428 h 6858000"/>
              <a:gd name="connsiteX36" fmla="*/ 1125884 w 12207875"/>
              <a:gd name="connsiteY36" fmla="*/ 466265 h 6858000"/>
              <a:gd name="connsiteX37" fmla="*/ 1139964 w 12207875"/>
              <a:gd name="connsiteY37" fmla="*/ 513899 h 6858000"/>
              <a:gd name="connsiteX38" fmla="*/ 1149444 w 12207875"/>
              <a:gd name="connsiteY38" fmla="*/ 513899 h 6858000"/>
              <a:gd name="connsiteX39" fmla="*/ 1159172 w 12207875"/>
              <a:gd name="connsiteY39" fmla="*/ 479517 h 6858000"/>
              <a:gd name="connsiteX40" fmla="*/ 1159893 w 12207875"/>
              <a:gd name="connsiteY40" fmla="*/ 479517 h 6858000"/>
              <a:gd name="connsiteX41" fmla="*/ 1169622 w 12207875"/>
              <a:gd name="connsiteY41" fmla="*/ 513899 h 6858000"/>
              <a:gd name="connsiteX42" fmla="*/ 1179129 w 12207875"/>
              <a:gd name="connsiteY42" fmla="*/ 513899 h 6858000"/>
              <a:gd name="connsiteX43" fmla="*/ 1193209 w 12207875"/>
              <a:gd name="connsiteY43" fmla="*/ 466265 h 6858000"/>
              <a:gd name="connsiteX44" fmla="*/ 1183564 w 12207875"/>
              <a:gd name="connsiteY44" fmla="*/ 466265 h 6858000"/>
              <a:gd name="connsiteX45" fmla="*/ 1174251 w 12207875"/>
              <a:gd name="connsiteY45" fmla="*/ 501088 h 6858000"/>
              <a:gd name="connsiteX46" fmla="*/ 1173780 w 12207875"/>
              <a:gd name="connsiteY46" fmla="*/ 501088 h 6858000"/>
              <a:gd name="connsiteX47" fmla="*/ 1164411 w 12207875"/>
              <a:gd name="connsiteY47" fmla="*/ 466265 h 6858000"/>
              <a:gd name="connsiteX48" fmla="*/ 1154793 w 12207875"/>
              <a:gd name="connsiteY48" fmla="*/ 466265 h 6858000"/>
              <a:gd name="connsiteX49" fmla="*/ 1145369 w 12207875"/>
              <a:gd name="connsiteY49" fmla="*/ 501226 h 6858000"/>
              <a:gd name="connsiteX50" fmla="*/ 1144898 w 12207875"/>
              <a:gd name="connsiteY50" fmla="*/ 501226 h 6858000"/>
              <a:gd name="connsiteX51" fmla="*/ 1135502 w 12207875"/>
              <a:gd name="connsiteY51" fmla="*/ 466265 h 6858000"/>
              <a:gd name="connsiteX52" fmla="*/ 1220844 w 12207875"/>
              <a:gd name="connsiteY52" fmla="*/ 465659 h 6858000"/>
              <a:gd name="connsiteX53" fmla="*/ 1209091 w 12207875"/>
              <a:gd name="connsiteY53" fmla="*/ 468717 h 6858000"/>
              <a:gd name="connsiteX54" fmla="*/ 1201303 w 12207875"/>
              <a:gd name="connsiteY54" fmla="*/ 477340 h 6858000"/>
              <a:gd name="connsiteX55" fmla="*/ 1198531 w 12207875"/>
              <a:gd name="connsiteY55" fmla="*/ 490289 h 6858000"/>
              <a:gd name="connsiteX56" fmla="*/ 1201303 w 12207875"/>
              <a:gd name="connsiteY56" fmla="*/ 503182 h 6858000"/>
              <a:gd name="connsiteX57" fmla="*/ 1209091 w 12207875"/>
              <a:gd name="connsiteY57" fmla="*/ 511778 h 6858000"/>
              <a:gd name="connsiteX58" fmla="*/ 1220844 w 12207875"/>
              <a:gd name="connsiteY58" fmla="*/ 514836 h 6858000"/>
              <a:gd name="connsiteX59" fmla="*/ 1232596 w 12207875"/>
              <a:gd name="connsiteY59" fmla="*/ 511778 h 6858000"/>
              <a:gd name="connsiteX60" fmla="*/ 1240384 w 12207875"/>
              <a:gd name="connsiteY60" fmla="*/ 503182 h 6858000"/>
              <a:gd name="connsiteX61" fmla="*/ 1243156 w 12207875"/>
              <a:gd name="connsiteY61" fmla="*/ 490289 h 6858000"/>
              <a:gd name="connsiteX62" fmla="*/ 1240384 w 12207875"/>
              <a:gd name="connsiteY62" fmla="*/ 477340 h 6858000"/>
              <a:gd name="connsiteX63" fmla="*/ 1232596 w 12207875"/>
              <a:gd name="connsiteY63" fmla="*/ 468717 h 6858000"/>
              <a:gd name="connsiteX64" fmla="*/ 1220844 w 12207875"/>
              <a:gd name="connsiteY64" fmla="*/ 465659 h 6858000"/>
              <a:gd name="connsiteX65" fmla="*/ 1275309 w 12207875"/>
              <a:gd name="connsiteY65" fmla="*/ 465549 h 6858000"/>
              <a:gd name="connsiteX66" fmla="*/ 1267770 w 12207875"/>
              <a:gd name="connsiteY66" fmla="*/ 467753 h 6858000"/>
              <a:gd name="connsiteX67" fmla="*/ 1263141 w 12207875"/>
              <a:gd name="connsiteY67" fmla="*/ 473814 h 6858000"/>
              <a:gd name="connsiteX68" fmla="*/ 1262642 w 12207875"/>
              <a:gd name="connsiteY68" fmla="*/ 473814 h 6858000"/>
              <a:gd name="connsiteX69" fmla="*/ 1262642 w 12207875"/>
              <a:gd name="connsiteY69" fmla="*/ 466238 h 6858000"/>
              <a:gd name="connsiteX70" fmla="*/ 1253634 w 12207875"/>
              <a:gd name="connsiteY70" fmla="*/ 466238 h 6858000"/>
              <a:gd name="connsiteX71" fmla="*/ 1253634 w 12207875"/>
              <a:gd name="connsiteY71" fmla="*/ 513844 h 6858000"/>
              <a:gd name="connsiteX72" fmla="*/ 1262975 w 12207875"/>
              <a:gd name="connsiteY72" fmla="*/ 513844 h 6858000"/>
              <a:gd name="connsiteX73" fmla="*/ 1262975 w 12207875"/>
              <a:gd name="connsiteY73" fmla="*/ 484806 h 6858000"/>
              <a:gd name="connsiteX74" fmla="*/ 1264471 w 12207875"/>
              <a:gd name="connsiteY74" fmla="*/ 479269 h 6858000"/>
              <a:gd name="connsiteX75" fmla="*/ 1268546 w 12207875"/>
              <a:gd name="connsiteY75" fmla="*/ 475467 h 6858000"/>
              <a:gd name="connsiteX76" fmla="*/ 1274422 w 12207875"/>
              <a:gd name="connsiteY76" fmla="*/ 474090 h 6858000"/>
              <a:gd name="connsiteX77" fmla="*/ 1277277 w 12207875"/>
              <a:gd name="connsiteY77" fmla="*/ 474282 h 6858000"/>
              <a:gd name="connsiteX78" fmla="*/ 1279272 w 12207875"/>
              <a:gd name="connsiteY78" fmla="*/ 474641 h 6858000"/>
              <a:gd name="connsiteX79" fmla="*/ 1279272 w 12207875"/>
              <a:gd name="connsiteY79" fmla="*/ 465769 h 6858000"/>
              <a:gd name="connsiteX80" fmla="*/ 1277388 w 12207875"/>
              <a:gd name="connsiteY80" fmla="*/ 465604 h 6858000"/>
              <a:gd name="connsiteX81" fmla="*/ 1275309 w 12207875"/>
              <a:gd name="connsiteY81" fmla="*/ 465549 h 6858000"/>
              <a:gd name="connsiteX82" fmla="*/ 1341774 w 12207875"/>
              <a:gd name="connsiteY82" fmla="*/ 450397 h 6858000"/>
              <a:gd name="connsiteX83" fmla="*/ 1341774 w 12207875"/>
              <a:gd name="connsiteY83" fmla="*/ 473980 h 6858000"/>
              <a:gd name="connsiteX84" fmla="*/ 1341747 w 12207875"/>
              <a:gd name="connsiteY84" fmla="*/ 473980 h 6858000"/>
              <a:gd name="connsiteX85" fmla="*/ 1341192 w 12207875"/>
              <a:gd name="connsiteY85" fmla="*/ 473980 h 6858000"/>
              <a:gd name="connsiteX86" fmla="*/ 1338836 w 12207875"/>
              <a:gd name="connsiteY86" fmla="*/ 470536 h 6858000"/>
              <a:gd name="connsiteX87" fmla="*/ 1334596 w 12207875"/>
              <a:gd name="connsiteY87" fmla="*/ 467120 h 6858000"/>
              <a:gd name="connsiteX88" fmla="*/ 1327417 w 12207875"/>
              <a:gd name="connsiteY88" fmla="*/ 465660 h 6858000"/>
              <a:gd name="connsiteX89" fmla="*/ 1317079 w 12207875"/>
              <a:gd name="connsiteY89" fmla="*/ 468580 h 6858000"/>
              <a:gd name="connsiteX90" fmla="*/ 1309927 w 12207875"/>
              <a:gd name="connsiteY90" fmla="*/ 476982 h 6858000"/>
              <a:gd name="connsiteX91" fmla="*/ 1307322 w 12207875"/>
              <a:gd name="connsiteY91" fmla="*/ 490179 h 6858000"/>
              <a:gd name="connsiteX92" fmla="*/ 1309900 w 12207875"/>
              <a:gd name="connsiteY92" fmla="*/ 503403 h 6858000"/>
              <a:gd name="connsiteX93" fmla="*/ 1317023 w 12207875"/>
              <a:gd name="connsiteY93" fmla="*/ 511860 h 6858000"/>
              <a:gd name="connsiteX94" fmla="*/ 1327362 w 12207875"/>
              <a:gd name="connsiteY94" fmla="*/ 514808 h 6858000"/>
              <a:gd name="connsiteX95" fmla="*/ 1334485 w 12207875"/>
              <a:gd name="connsiteY95" fmla="*/ 513348 h 6858000"/>
              <a:gd name="connsiteX96" fmla="*/ 1338809 w 12207875"/>
              <a:gd name="connsiteY96" fmla="*/ 509932 h 6858000"/>
              <a:gd name="connsiteX97" fmla="*/ 1341220 w 12207875"/>
              <a:gd name="connsiteY97" fmla="*/ 506461 h 6858000"/>
              <a:gd name="connsiteX98" fmla="*/ 1341996 w 12207875"/>
              <a:gd name="connsiteY98" fmla="*/ 506461 h 6858000"/>
              <a:gd name="connsiteX99" fmla="*/ 1341996 w 12207875"/>
              <a:gd name="connsiteY99" fmla="*/ 513872 h 6858000"/>
              <a:gd name="connsiteX100" fmla="*/ 1351115 w 12207875"/>
              <a:gd name="connsiteY100" fmla="*/ 513872 h 6858000"/>
              <a:gd name="connsiteX101" fmla="*/ 1351115 w 12207875"/>
              <a:gd name="connsiteY101" fmla="*/ 450397 h 6858000"/>
              <a:gd name="connsiteX102" fmla="*/ 1287449 w 12207875"/>
              <a:gd name="connsiteY102" fmla="*/ 450397 h 6858000"/>
              <a:gd name="connsiteX103" fmla="*/ 1287449 w 12207875"/>
              <a:gd name="connsiteY103" fmla="*/ 513872 h 6858000"/>
              <a:gd name="connsiteX104" fmla="*/ 1296790 w 12207875"/>
              <a:gd name="connsiteY104" fmla="*/ 513872 h 6858000"/>
              <a:gd name="connsiteX105" fmla="*/ 1296790 w 12207875"/>
              <a:gd name="connsiteY105" fmla="*/ 450397 h 6858000"/>
              <a:gd name="connsiteX106" fmla="*/ 1297372 w 12207875"/>
              <a:gd name="connsiteY106" fmla="*/ 401633 h 6858000"/>
              <a:gd name="connsiteX107" fmla="*/ 1297372 w 12207875"/>
              <a:gd name="connsiteY107" fmla="*/ 407777 h 6858000"/>
              <a:gd name="connsiteX108" fmla="*/ 1297344 w 12207875"/>
              <a:gd name="connsiteY108" fmla="*/ 407777 h 6858000"/>
              <a:gd name="connsiteX109" fmla="*/ 1295903 w 12207875"/>
              <a:gd name="connsiteY109" fmla="*/ 413066 h 6858000"/>
              <a:gd name="connsiteX110" fmla="*/ 1291689 w 12207875"/>
              <a:gd name="connsiteY110" fmla="*/ 417061 h 6858000"/>
              <a:gd name="connsiteX111" fmla="*/ 1285065 w 12207875"/>
              <a:gd name="connsiteY111" fmla="*/ 418576 h 6858000"/>
              <a:gd name="connsiteX112" fmla="*/ 1278552 w 12207875"/>
              <a:gd name="connsiteY112" fmla="*/ 416813 h 6858000"/>
              <a:gd name="connsiteX113" fmla="*/ 1276002 w 12207875"/>
              <a:gd name="connsiteY113" fmla="*/ 411634 h 6858000"/>
              <a:gd name="connsiteX114" fmla="*/ 1277332 w 12207875"/>
              <a:gd name="connsiteY114" fmla="*/ 407639 h 6858000"/>
              <a:gd name="connsiteX115" fmla="*/ 1280880 w 12207875"/>
              <a:gd name="connsiteY115" fmla="*/ 405325 h 6858000"/>
              <a:gd name="connsiteX116" fmla="*/ 1285814 w 12207875"/>
              <a:gd name="connsiteY116" fmla="*/ 404168 h 6858000"/>
              <a:gd name="connsiteX117" fmla="*/ 1288696 w 12207875"/>
              <a:gd name="connsiteY117" fmla="*/ 403782 h 6858000"/>
              <a:gd name="connsiteX118" fmla="*/ 1292216 w 12207875"/>
              <a:gd name="connsiteY118" fmla="*/ 403259 h 6858000"/>
              <a:gd name="connsiteX119" fmla="*/ 1295459 w 12207875"/>
              <a:gd name="connsiteY119" fmla="*/ 402542 h 6858000"/>
              <a:gd name="connsiteX120" fmla="*/ 1297372 w 12207875"/>
              <a:gd name="connsiteY120" fmla="*/ 401633 h 6858000"/>
              <a:gd name="connsiteX121" fmla="*/ 1363312 w 12207875"/>
              <a:gd name="connsiteY121" fmla="*/ 384608 h 6858000"/>
              <a:gd name="connsiteX122" fmla="*/ 1370352 w 12207875"/>
              <a:gd name="connsiteY122" fmla="*/ 386785 h 6858000"/>
              <a:gd name="connsiteX123" fmla="*/ 1374593 w 12207875"/>
              <a:gd name="connsiteY123" fmla="*/ 392708 h 6858000"/>
              <a:gd name="connsiteX124" fmla="*/ 1376007 w 12207875"/>
              <a:gd name="connsiteY124" fmla="*/ 401166 h 6858000"/>
              <a:gd name="connsiteX125" fmla="*/ 1374565 w 12207875"/>
              <a:gd name="connsiteY125" fmla="*/ 409734 h 6858000"/>
              <a:gd name="connsiteX126" fmla="*/ 1370297 w 12207875"/>
              <a:gd name="connsiteY126" fmla="*/ 415767 h 6858000"/>
              <a:gd name="connsiteX127" fmla="*/ 1363312 w 12207875"/>
              <a:gd name="connsiteY127" fmla="*/ 417971 h 6858000"/>
              <a:gd name="connsiteX128" fmla="*/ 1356521 w 12207875"/>
              <a:gd name="connsiteY128" fmla="*/ 415850 h 6858000"/>
              <a:gd name="connsiteX129" fmla="*/ 1352280 w 12207875"/>
              <a:gd name="connsiteY129" fmla="*/ 409954 h 6858000"/>
              <a:gd name="connsiteX130" fmla="*/ 1350811 w 12207875"/>
              <a:gd name="connsiteY130" fmla="*/ 401138 h 6858000"/>
              <a:gd name="connsiteX131" fmla="*/ 1352253 w 12207875"/>
              <a:gd name="connsiteY131" fmla="*/ 392460 h 6858000"/>
              <a:gd name="connsiteX132" fmla="*/ 1356466 w 12207875"/>
              <a:gd name="connsiteY132" fmla="*/ 386674 h 6858000"/>
              <a:gd name="connsiteX133" fmla="*/ 1363312 w 12207875"/>
              <a:gd name="connsiteY133" fmla="*/ 384608 h 6858000"/>
              <a:gd name="connsiteX134" fmla="*/ 1181486 w 12207875"/>
              <a:gd name="connsiteY134" fmla="*/ 384497 h 6858000"/>
              <a:gd name="connsiteX135" fmla="*/ 1188720 w 12207875"/>
              <a:gd name="connsiteY135" fmla="*/ 386811 h 6858000"/>
              <a:gd name="connsiteX136" fmla="*/ 1192988 w 12207875"/>
              <a:gd name="connsiteY136" fmla="*/ 392955 h 6858000"/>
              <a:gd name="connsiteX137" fmla="*/ 1194374 w 12207875"/>
              <a:gd name="connsiteY137" fmla="*/ 401330 h 6858000"/>
              <a:gd name="connsiteX138" fmla="*/ 1192988 w 12207875"/>
              <a:gd name="connsiteY138" fmla="*/ 409733 h 6858000"/>
              <a:gd name="connsiteX139" fmla="*/ 1188720 w 12207875"/>
              <a:gd name="connsiteY139" fmla="*/ 415849 h 6858000"/>
              <a:gd name="connsiteX140" fmla="*/ 1181486 w 12207875"/>
              <a:gd name="connsiteY140" fmla="*/ 418135 h 6858000"/>
              <a:gd name="connsiteX141" fmla="*/ 1174196 w 12207875"/>
              <a:gd name="connsiteY141" fmla="*/ 415849 h 6858000"/>
              <a:gd name="connsiteX142" fmla="*/ 1169927 w 12207875"/>
              <a:gd name="connsiteY142" fmla="*/ 409733 h 6858000"/>
              <a:gd name="connsiteX143" fmla="*/ 1168542 w 12207875"/>
              <a:gd name="connsiteY143" fmla="*/ 401330 h 6858000"/>
              <a:gd name="connsiteX144" fmla="*/ 1169927 w 12207875"/>
              <a:gd name="connsiteY144" fmla="*/ 392955 h 6858000"/>
              <a:gd name="connsiteX145" fmla="*/ 1174196 w 12207875"/>
              <a:gd name="connsiteY145" fmla="*/ 386811 h 6858000"/>
              <a:gd name="connsiteX146" fmla="*/ 1181486 w 12207875"/>
              <a:gd name="connsiteY146" fmla="*/ 384497 h 6858000"/>
              <a:gd name="connsiteX147" fmla="*/ 1530004 w 12207875"/>
              <a:gd name="connsiteY147" fmla="*/ 384387 h 6858000"/>
              <a:gd name="connsiteX148" fmla="*/ 1536324 w 12207875"/>
              <a:gd name="connsiteY148" fmla="*/ 386040 h 6858000"/>
              <a:gd name="connsiteX149" fmla="*/ 1540509 w 12207875"/>
              <a:gd name="connsiteY149" fmla="*/ 390531 h 6858000"/>
              <a:gd name="connsiteX150" fmla="*/ 1542006 w 12207875"/>
              <a:gd name="connsiteY150" fmla="*/ 397032 h 6858000"/>
              <a:gd name="connsiteX151" fmla="*/ 1517198 w 12207875"/>
              <a:gd name="connsiteY151" fmla="*/ 397032 h 6858000"/>
              <a:gd name="connsiteX152" fmla="*/ 1517198 w 12207875"/>
              <a:gd name="connsiteY152" fmla="*/ 397005 h 6858000"/>
              <a:gd name="connsiteX153" fmla="*/ 1518667 w 12207875"/>
              <a:gd name="connsiteY153" fmla="*/ 391247 h 6858000"/>
              <a:gd name="connsiteX154" fmla="*/ 1523158 w 12207875"/>
              <a:gd name="connsiteY154" fmla="*/ 386288 h 6858000"/>
              <a:gd name="connsiteX155" fmla="*/ 1530004 w 12207875"/>
              <a:gd name="connsiteY155" fmla="*/ 384387 h 6858000"/>
              <a:gd name="connsiteX156" fmla="*/ 1415227 w 12207875"/>
              <a:gd name="connsiteY156" fmla="*/ 384387 h 6858000"/>
              <a:gd name="connsiteX157" fmla="*/ 1421547 w 12207875"/>
              <a:gd name="connsiteY157" fmla="*/ 386040 h 6858000"/>
              <a:gd name="connsiteX158" fmla="*/ 1425732 w 12207875"/>
              <a:gd name="connsiteY158" fmla="*/ 390531 h 6858000"/>
              <a:gd name="connsiteX159" fmla="*/ 1427229 w 12207875"/>
              <a:gd name="connsiteY159" fmla="*/ 397032 h 6858000"/>
              <a:gd name="connsiteX160" fmla="*/ 1402421 w 12207875"/>
              <a:gd name="connsiteY160" fmla="*/ 397032 h 6858000"/>
              <a:gd name="connsiteX161" fmla="*/ 1402421 w 12207875"/>
              <a:gd name="connsiteY161" fmla="*/ 397005 h 6858000"/>
              <a:gd name="connsiteX162" fmla="*/ 1403890 w 12207875"/>
              <a:gd name="connsiteY162" fmla="*/ 391247 h 6858000"/>
              <a:gd name="connsiteX163" fmla="*/ 1408381 w 12207875"/>
              <a:gd name="connsiteY163" fmla="*/ 386288 h 6858000"/>
              <a:gd name="connsiteX164" fmla="*/ 1415227 w 12207875"/>
              <a:gd name="connsiteY164" fmla="*/ 384387 h 6858000"/>
              <a:gd name="connsiteX165" fmla="*/ 1529948 w 12207875"/>
              <a:gd name="connsiteY165" fmla="*/ 376728 h 6858000"/>
              <a:gd name="connsiteX166" fmla="*/ 1518307 w 12207875"/>
              <a:gd name="connsiteY166" fmla="*/ 379869 h 6858000"/>
              <a:gd name="connsiteX167" fmla="*/ 1510574 w 12207875"/>
              <a:gd name="connsiteY167" fmla="*/ 388574 h 6858000"/>
              <a:gd name="connsiteX168" fmla="*/ 1507802 w 12207875"/>
              <a:gd name="connsiteY168" fmla="*/ 401468 h 6858000"/>
              <a:gd name="connsiteX169" fmla="*/ 1510574 w 12207875"/>
              <a:gd name="connsiteY169" fmla="*/ 414389 h 6858000"/>
              <a:gd name="connsiteX170" fmla="*/ 1518418 w 12207875"/>
              <a:gd name="connsiteY170" fmla="*/ 422902 h 6858000"/>
              <a:gd name="connsiteX171" fmla="*/ 1530614 w 12207875"/>
              <a:gd name="connsiteY171" fmla="*/ 425932 h 6858000"/>
              <a:gd name="connsiteX172" fmla="*/ 1539955 w 12207875"/>
              <a:gd name="connsiteY172" fmla="*/ 424334 h 6858000"/>
              <a:gd name="connsiteX173" fmla="*/ 1546773 w 12207875"/>
              <a:gd name="connsiteY173" fmla="*/ 419844 h 6858000"/>
              <a:gd name="connsiteX174" fmla="*/ 1550570 w 12207875"/>
              <a:gd name="connsiteY174" fmla="*/ 413066 h 6858000"/>
              <a:gd name="connsiteX175" fmla="*/ 1541756 w 12207875"/>
              <a:gd name="connsiteY175" fmla="*/ 411496 h 6858000"/>
              <a:gd name="connsiteX176" fmla="*/ 1539317 w 12207875"/>
              <a:gd name="connsiteY176" fmla="*/ 415243 h 6858000"/>
              <a:gd name="connsiteX177" fmla="*/ 1535547 w 12207875"/>
              <a:gd name="connsiteY177" fmla="*/ 417530 h 6858000"/>
              <a:gd name="connsiteX178" fmla="*/ 1530725 w 12207875"/>
              <a:gd name="connsiteY178" fmla="*/ 418301 h 6858000"/>
              <a:gd name="connsiteX179" fmla="*/ 1523573 w 12207875"/>
              <a:gd name="connsiteY179" fmla="*/ 416538 h 6858000"/>
              <a:gd name="connsiteX180" fmla="*/ 1518834 w 12207875"/>
              <a:gd name="connsiteY180" fmla="*/ 411441 h 6858000"/>
              <a:gd name="connsiteX181" fmla="*/ 1517198 w 12207875"/>
              <a:gd name="connsiteY181" fmla="*/ 403975 h 6858000"/>
              <a:gd name="connsiteX182" fmla="*/ 1551180 w 12207875"/>
              <a:gd name="connsiteY182" fmla="*/ 403975 h 6858000"/>
              <a:gd name="connsiteX183" fmla="*/ 1551180 w 12207875"/>
              <a:gd name="connsiteY183" fmla="*/ 400696 h 6858000"/>
              <a:gd name="connsiteX184" fmla="*/ 1549434 w 12207875"/>
              <a:gd name="connsiteY184" fmla="*/ 389676 h 6858000"/>
              <a:gd name="connsiteX185" fmla="*/ 1544639 w 12207875"/>
              <a:gd name="connsiteY185" fmla="*/ 382238 h 6858000"/>
              <a:gd name="connsiteX186" fmla="*/ 1537820 w 12207875"/>
              <a:gd name="connsiteY186" fmla="*/ 378050 h 6858000"/>
              <a:gd name="connsiteX187" fmla="*/ 1529948 w 12207875"/>
              <a:gd name="connsiteY187" fmla="*/ 376728 h 6858000"/>
              <a:gd name="connsiteX188" fmla="*/ 1415171 w 12207875"/>
              <a:gd name="connsiteY188" fmla="*/ 376728 h 6858000"/>
              <a:gd name="connsiteX189" fmla="*/ 1403530 w 12207875"/>
              <a:gd name="connsiteY189" fmla="*/ 379869 h 6858000"/>
              <a:gd name="connsiteX190" fmla="*/ 1395797 w 12207875"/>
              <a:gd name="connsiteY190" fmla="*/ 388574 h 6858000"/>
              <a:gd name="connsiteX191" fmla="*/ 1393025 w 12207875"/>
              <a:gd name="connsiteY191" fmla="*/ 401468 h 6858000"/>
              <a:gd name="connsiteX192" fmla="*/ 1395797 w 12207875"/>
              <a:gd name="connsiteY192" fmla="*/ 414389 h 6858000"/>
              <a:gd name="connsiteX193" fmla="*/ 1403641 w 12207875"/>
              <a:gd name="connsiteY193" fmla="*/ 422902 h 6858000"/>
              <a:gd name="connsiteX194" fmla="*/ 1415837 w 12207875"/>
              <a:gd name="connsiteY194" fmla="*/ 425932 h 6858000"/>
              <a:gd name="connsiteX195" fmla="*/ 1425177 w 12207875"/>
              <a:gd name="connsiteY195" fmla="*/ 424334 h 6858000"/>
              <a:gd name="connsiteX196" fmla="*/ 1431996 w 12207875"/>
              <a:gd name="connsiteY196" fmla="*/ 419844 h 6858000"/>
              <a:gd name="connsiteX197" fmla="*/ 1435793 w 12207875"/>
              <a:gd name="connsiteY197" fmla="*/ 413066 h 6858000"/>
              <a:gd name="connsiteX198" fmla="*/ 1426979 w 12207875"/>
              <a:gd name="connsiteY198" fmla="*/ 411496 h 6858000"/>
              <a:gd name="connsiteX199" fmla="*/ 1424540 w 12207875"/>
              <a:gd name="connsiteY199" fmla="*/ 415243 h 6858000"/>
              <a:gd name="connsiteX200" fmla="*/ 1420771 w 12207875"/>
              <a:gd name="connsiteY200" fmla="*/ 417530 h 6858000"/>
              <a:gd name="connsiteX201" fmla="*/ 1415947 w 12207875"/>
              <a:gd name="connsiteY201" fmla="*/ 418301 h 6858000"/>
              <a:gd name="connsiteX202" fmla="*/ 1408796 w 12207875"/>
              <a:gd name="connsiteY202" fmla="*/ 416538 h 6858000"/>
              <a:gd name="connsiteX203" fmla="*/ 1404057 w 12207875"/>
              <a:gd name="connsiteY203" fmla="*/ 411441 h 6858000"/>
              <a:gd name="connsiteX204" fmla="*/ 1402421 w 12207875"/>
              <a:gd name="connsiteY204" fmla="*/ 403975 h 6858000"/>
              <a:gd name="connsiteX205" fmla="*/ 1436403 w 12207875"/>
              <a:gd name="connsiteY205" fmla="*/ 403975 h 6858000"/>
              <a:gd name="connsiteX206" fmla="*/ 1436403 w 12207875"/>
              <a:gd name="connsiteY206" fmla="*/ 400696 h 6858000"/>
              <a:gd name="connsiteX207" fmla="*/ 1434657 w 12207875"/>
              <a:gd name="connsiteY207" fmla="*/ 389676 h 6858000"/>
              <a:gd name="connsiteX208" fmla="*/ 1429862 w 12207875"/>
              <a:gd name="connsiteY208" fmla="*/ 382238 h 6858000"/>
              <a:gd name="connsiteX209" fmla="*/ 1423043 w 12207875"/>
              <a:gd name="connsiteY209" fmla="*/ 378050 h 6858000"/>
              <a:gd name="connsiteX210" fmla="*/ 1415171 w 12207875"/>
              <a:gd name="connsiteY210" fmla="*/ 376728 h 6858000"/>
              <a:gd name="connsiteX211" fmla="*/ 1288086 w 12207875"/>
              <a:gd name="connsiteY211" fmla="*/ 376728 h 6858000"/>
              <a:gd name="connsiteX212" fmla="*/ 1279827 w 12207875"/>
              <a:gd name="connsiteY212" fmla="*/ 377940 h 6858000"/>
              <a:gd name="connsiteX213" fmla="*/ 1272897 w 12207875"/>
              <a:gd name="connsiteY213" fmla="*/ 381852 h 6858000"/>
              <a:gd name="connsiteX214" fmla="*/ 1268324 w 12207875"/>
              <a:gd name="connsiteY214" fmla="*/ 388877 h 6858000"/>
              <a:gd name="connsiteX215" fmla="*/ 1277083 w 12207875"/>
              <a:gd name="connsiteY215" fmla="*/ 390861 h 6858000"/>
              <a:gd name="connsiteX216" fmla="*/ 1280824 w 12207875"/>
              <a:gd name="connsiteY216" fmla="*/ 386288 h 6858000"/>
              <a:gd name="connsiteX217" fmla="*/ 1288225 w 12207875"/>
              <a:gd name="connsiteY217" fmla="*/ 384222 h 6858000"/>
              <a:gd name="connsiteX218" fmla="*/ 1295043 w 12207875"/>
              <a:gd name="connsiteY218" fmla="*/ 386453 h 6858000"/>
              <a:gd name="connsiteX219" fmla="*/ 1297344 w 12207875"/>
              <a:gd name="connsiteY219" fmla="*/ 392762 h 6858000"/>
              <a:gd name="connsiteX220" fmla="*/ 1297344 w 12207875"/>
              <a:gd name="connsiteY220" fmla="*/ 392982 h 6858000"/>
              <a:gd name="connsiteX221" fmla="*/ 1296124 w 12207875"/>
              <a:gd name="connsiteY221" fmla="*/ 395407 h 6858000"/>
              <a:gd name="connsiteX222" fmla="*/ 1292216 w 12207875"/>
              <a:gd name="connsiteY222" fmla="*/ 396481 h 6858000"/>
              <a:gd name="connsiteX223" fmla="*/ 1285231 w 12207875"/>
              <a:gd name="connsiteY223" fmla="*/ 397308 h 6858000"/>
              <a:gd name="connsiteX224" fmla="*/ 1278552 w 12207875"/>
              <a:gd name="connsiteY224" fmla="*/ 398492 h 6858000"/>
              <a:gd name="connsiteX225" fmla="*/ 1272620 w 12207875"/>
              <a:gd name="connsiteY225" fmla="*/ 400779 h 6858000"/>
              <a:gd name="connsiteX226" fmla="*/ 1268407 w 12207875"/>
              <a:gd name="connsiteY226" fmla="*/ 404912 h 6858000"/>
              <a:gd name="connsiteX227" fmla="*/ 1266855 w 12207875"/>
              <a:gd name="connsiteY227" fmla="*/ 411551 h 6858000"/>
              <a:gd name="connsiteX228" fmla="*/ 1268989 w 12207875"/>
              <a:gd name="connsiteY228" fmla="*/ 419458 h 6858000"/>
              <a:gd name="connsiteX229" fmla="*/ 1274810 w 12207875"/>
              <a:gd name="connsiteY229" fmla="*/ 424362 h 6858000"/>
              <a:gd name="connsiteX230" fmla="*/ 1283042 w 12207875"/>
              <a:gd name="connsiteY230" fmla="*/ 426042 h 6858000"/>
              <a:gd name="connsiteX231" fmla="*/ 1289832 w 12207875"/>
              <a:gd name="connsiteY231" fmla="*/ 424885 h 6858000"/>
              <a:gd name="connsiteX232" fmla="*/ 1294489 w 12207875"/>
              <a:gd name="connsiteY232" fmla="*/ 421992 h 6858000"/>
              <a:gd name="connsiteX233" fmla="*/ 1297205 w 12207875"/>
              <a:gd name="connsiteY233" fmla="*/ 418466 h 6858000"/>
              <a:gd name="connsiteX234" fmla="*/ 1297593 w 12207875"/>
              <a:gd name="connsiteY234" fmla="*/ 418466 h 6858000"/>
              <a:gd name="connsiteX235" fmla="*/ 1297593 w 12207875"/>
              <a:gd name="connsiteY235" fmla="*/ 424968 h 6858000"/>
              <a:gd name="connsiteX236" fmla="*/ 1306712 w 12207875"/>
              <a:gd name="connsiteY236" fmla="*/ 424968 h 6858000"/>
              <a:gd name="connsiteX237" fmla="*/ 1306712 w 12207875"/>
              <a:gd name="connsiteY237" fmla="*/ 393341 h 6858000"/>
              <a:gd name="connsiteX238" fmla="*/ 1304883 w 12207875"/>
              <a:gd name="connsiteY238" fmla="*/ 384855 h 6858000"/>
              <a:gd name="connsiteX239" fmla="*/ 1300227 w 12207875"/>
              <a:gd name="connsiteY239" fmla="*/ 379814 h 6858000"/>
              <a:gd name="connsiteX240" fmla="*/ 1294184 w 12207875"/>
              <a:gd name="connsiteY240" fmla="*/ 377389 h 6858000"/>
              <a:gd name="connsiteX241" fmla="*/ 1288086 w 12207875"/>
              <a:gd name="connsiteY241" fmla="*/ 376728 h 6858000"/>
              <a:gd name="connsiteX242" fmla="*/ 1181486 w 12207875"/>
              <a:gd name="connsiteY242" fmla="*/ 376728 h 6858000"/>
              <a:gd name="connsiteX243" fmla="*/ 1169733 w 12207875"/>
              <a:gd name="connsiteY243" fmla="*/ 379786 h 6858000"/>
              <a:gd name="connsiteX244" fmla="*/ 1161945 w 12207875"/>
              <a:gd name="connsiteY244" fmla="*/ 388409 h 6858000"/>
              <a:gd name="connsiteX245" fmla="*/ 1159173 w 12207875"/>
              <a:gd name="connsiteY245" fmla="*/ 401357 h 6858000"/>
              <a:gd name="connsiteX246" fmla="*/ 1161945 w 12207875"/>
              <a:gd name="connsiteY246" fmla="*/ 414251 h 6858000"/>
              <a:gd name="connsiteX247" fmla="*/ 1169733 w 12207875"/>
              <a:gd name="connsiteY247" fmla="*/ 422846 h 6858000"/>
              <a:gd name="connsiteX248" fmla="*/ 1181486 w 12207875"/>
              <a:gd name="connsiteY248" fmla="*/ 425904 h 6858000"/>
              <a:gd name="connsiteX249" fmla="*/ 1193238 w 12207875"/>
              <a:gd name="connsiteY249" fmla="*/ 422846 h 6858000"/>
              <a:gd name="connsiteX250" fmla="*/ 1201026 w 12207875"/>
              <a:gd name="connsiteY250" fmla="*/ 414251 h 6858000"/>
              <a:gd name="connsiteX251" fmla="*/ 1203798 w 12207875"/>
              <a:gd name="connsiteY251" fmla="*/ 401357 h 6858000"/>
              <a:gd name="connsiteX252" fmla="*/ 1201026 w 12207875"/>
              <a:gd name="connsiteY252" fmla="*/ 388409 h 6858000"/>
              <a:gd name="connsiteX253" fmla="*/ 1193238 w 12207875"/>
              <a:gd name="connsiteY253" fmla="*/ 379786 h 6858000"/>
              <a:gd name="connsiteX254" fmla="*/ 1181486 w 12207875"/>
              <a:gd name="connsiteY254" fmla="*/ 376728 h 6858000"/>
              <a:gd name="connsiteX255" fmla="*/ 1582528 w 12207875"/>
              <a:gd name="connsiteY255" fmla="*/ 376618 h 6858000"/>
              <a:gd name="connsiteX256" fmla="*/ 1574989 w 12207875"/>
              <a:gd name="connsiteY256" fmla="*/ 378822 h 6858000"/>
              <a:gd name="connsiteX257" fmla="*/ 1570360 w 12207875"/>
              <a:gd name="connsiteY257" fmla="*/ 384883 h 6858000"/>
              <a:gd name="connsiteX258" fmla="*/ 1569861 w 12207875"/>
              <a:gd name="connsiteY258" fmla="*/ 384883 h 6858000"/>
              <a:gd name="connsiteX259" fmla="*/ 1569861 w 12207875"/>
              <a:gd name="connsiteY259" fmla="*/ 377307 h 6858000"/>
              <a:gd name="connsiteX260" fmla="*/ 1560853 w 12207875"/>
              <a:gd name="connsiteY260" fmla="*/ 377307 h 6858000"/>
              <a:gd name="connsiteX261" fmla="*/ 1560853 w 12207875"/>
              <a:gd name="connsiteY261" fmla="*/ 424913 h 6858000"/>
              <a:gd name="connsiteX262" fmla="*/ 1570194 w 12207875"/>
              <a:gd name="connsiteY262" fmla="*/ 424913 h 6858000"/>
              <a:gd name="connsiteX263" fmla="*/ 1570194 w 12207875"/>
              <a:gd name="connsiteY263" fmla="*/ 395875 h 6858000"/>
              <a:gd name="connsiteX264" fmla="*/ 1571690 w 12207875"/>
              <a:gd name="connsiteY264" fmla="*/ 390338 h 6858000"/>
              <a:gd name="connsiteX265" fmla="*/ 1575765 w 12207875"/>
              <a:gd name="connsiteY265" fmla="*/ 386536 h 6858000"/>
              <a:gd name="connsiteX266" fmla="*/ 1581641 w 12207875"/>
              <a:gd name="connsiteY266" fmla="*/ 385159 h 6858000"/>
              <a:gd name="connsiteX267" fmla="*/ 1584496 w 12207875"/>
              <a:gd name="connsiteY267" fmla="*/ 385351 h 6858000"/>
              <a:gd name="connsiteX268" fmla="*/ 1586491 w 12207875"/>
              <a:gd name="connsiteY268" fmla="*/ 385710 h 6858000"/>
              <a:gd name="connsiteX269" fmla="*/ 1586491 w 12207875"/>
              <a:gd name="connsiteY269" fmla="*/ 376838 h 6858000"/>
              <a:gd name="connsiteX270" fmla="*/ 1584607 w 12207875"/>
              <a:gd name="connsiteY270" fmla="*/ 376673 h 6858000"/>
              <a:gd name="connsiteX271" fmla="*/ 1582528 w 12207875"/>
              <a:gd name="connsiteY271" fmla="*/ 376618 h 6858000"/>
              <a:gd name="connsiteX272" fmla="*/ 1235146 w 12207875"/>
              <a:gd name="connsiteY272" fmla="*/ 376618 h 6858000"/>
              <a:gd name="connsiteX273" fmla="*/ 1227607 w 12207875"/>
              <a:gd name="connsiteY273" fmla="*/ 378822 h 6858000"/>
              <a:gd name="connsiteX274" fmla="*/ 1222978 w 12207875"/>
              <a:gd name="connsiteY274" fmla="*/ 384883 h 6858000"/>
              <a:gd name="connsiteX275" fmla="*/ 1222479 w 12207875"/>
              <a:gd name="connsiteY275" fmla="*/ 384883 h 6858000"/>
              <a:gd name="connsiteX276" fmla="*/ 1222479 w 12207875"/>
              <a:gd name="connsiteY276" fmla="*/ 377334 h 6858000"/>
              <a:gd name="connsiteX277" fmla="*/ 1213471 w 12207875"/>
              <a:gd name="connsiteY277" fmla="*/ 377334 h 6858000"/>
              <a:gd name="connsiteX278" fmla="*/ 1213471 w 12207875"/>
              <a:gd name="connsiteY278" fmla="*/ 424941 h 6858000"/>
              <a:gd name="connsiteX279" fmla="*/ 1222812 w 12207875"/>
              <a:gd name="connsiteY279" fmla="*/ 424941 h 6858000"/>
              <a:gd name="connsiteX280" fmla="*/ 1222812 w 12207875"/>
              <a:gd name="connsiteY280" fmla="*/ 395876 h 6858000"/>
              <a:gd name="connsiteX281" fmla="*/ 1224308 w 12207875"/>
              <a:gd name="connsiteY281" fmla="*/ 390338 h 6858000"/>
              <a:gd name="connsiteX282" fmla="*/ 1228383 w 12207875"/>
              <a:gd name="connsiteY282" fmla="*/ 386536 h 6858000"/>
              <a:gd name="connsiteX283" fmla="*/ 1234259 w 12207875"/>
              <a:gd name="connsiteY283" fmla="*/ 385159 h 6858000"/>
              <a:gd name="connsiteX284" fmla="*/ 1237114 w 12207875"/>
              <a:gd name="connsiteY284" fmla="*/ 385351 h 6858000"/>
              <a:gd name="connsiteX285" fmla="*/ 1239109 w 12207875"/>
              <a:gd name="connsiteY285" fmla="*/ 385710 h 6858000"/>
              <a:gd name="connsiteX286" fmla="*/ 1239109 w 12207875"/>
              <a:gd name="connsiteY286" fmla="*/ 376838 h 6858000"/>
              <a:gd name="connsiteX287" fmla="*/ 1237224 w 12207875"/>
              <a:gd name="connsiteY287" fmla="*/ 376673 h 6858000"/>
              <a:gd name="connsiteX288" fmla="*/ 1235146 w 12207875"/>
              <a:gd name="connsiteY288" fmla="*/ 376618 h 6858000"/>
              <a:gd name="connsiteX289" fmla="*/ 1481194 w 12207875"/>
              <a:gd name="connsiteY289" fmla="*/ 365956 h 6858000"/>
              <a:gd name="connsiteX290" fmla="*/ 1481194 w 12207875"/>
              <a:gd name="connsiteY290" fmla="*/ 377362 h 6858000"/>
              <a:gd name="connsiteX291" fmla="*/ 1474181 w 12207875"/>
              <a:gd name="connsiteY291" fmla="*/ 377362 h 6858000"/>
              <a:gd name="connsiteX292" fmla="*/ 1474181 w 12207875"/>
              <a:gd name="connsiteY292" fmla="*/ 384800 h 6858000"/>
              <a:gd name="connsiteX293" fmla="*/ 1481194 w 12207875"/>
              <a:gd name="connsiteY293" fmla="*/ 384800 h 6858000"/>
              <a:gd name="connsiteX294" fmla="*/ 1481194 w 12207875"/>
              <a:gd name="connsiteY294" fmla="*/ 412929 h 6858000"/>
              <a:gd name="connsiteX295" fmla="*/ 1483161 w 12207875"/>
              <a:gd name="connsiteY295" fmla="*/ 420092 h 6858000"/>
              <a:gd name="connsiteX296" fmla="*/ 1488317 w 12207875"/>
              <a:gd name="connsiteY296" fmla="*/ 424307 h 6858000"/>
              <a:gd name="connsiteX297" fmla="*/ 1495191 w 12207875"/>
              <a:gd name="connsiteY297" fmla="*/ 425602 h 6858000"/>
              <a:gd name="connsiteX298" fmla="*/ 1498933 w 12207875"/>
              <a:gd name="connsiteY298" fmla="*/ 425243 h 6858000"/>
              <a:gd name="connsiteX299" fmla="*/ 1501233 w 12207875"/>
              <a:gd name="connsiteY299" fmla="*/ 424610 h 6858000"/>
              <a:gd name="connsiteX300" fmla="*/ 1499542 w 12207875"/>
              <a:gd name="connsiteY300" fmla="*/ 416951 h 6858000"/>
              <a:gd name="connsiteX301" fmla="*/ 1498240 w 12207875"/>
              <a:gd name="connsiteY301" fmla="*/ 417171 h 6858000"/>
              <a:gd name="connsiteX302" fmla="*/ 1496272 w 12207875"/>
              <a:gd name="connsiteY302" fmla="*/ 417337 h 6858000"/>
              <a:gd name="connsiteX303" fmla="*/ 1493445 w 12207875"/>
              <a:gd name="connsiteY303" fmla="*/ 416868 h 6858000"/>
              <a:gd name="connsiteX304" fmla="*/ 1491338 w 12207875"/>
              <a:gd name="connsiteY304" fmla="*/ 415050 h 6858000"/>
              <a:gd name="connsiteX305" fmla="*/ 1490534 w 12207875"/>
              <a:gd name="connsiteY305" fmla="*/ 411000 h 6858000"/>
              <a:gd name="connsiteX306" fmla="*/ 1490534 w 12207875"/>
              <a:gd name="connsiteY306" fmla="*/ 384800 h 6858000"/>
              <a:gd name="connsiteX307" fmla="*/ 1500346 w 12207875"/>
              <a:gd name="connsiteY307" fmla="*/ 384800 h 6858000"/>
              <a:gd name="connsiteX308" fmla="*/ 1500346 w 12207875"/>
              <a:gd name="connsiteY308" fmla="*/ 377362 h 6858000"/>
              <a:gd name="connsiteX309" fmla="*/ 1490534 w 12207875"/>
              <a:gd name="connsiteY309" fmla="*/ 377362 h 6858000"/>
              <a:gd name="connsiteX310" fmla="*/ 1490534 w 12207875"/>
              <a:gd name="connsiteY310" fmla="*/ 365956 h 6858000"/>
              <a:gd name="connsiteX311" fmla="*/ 1449264 w 12207875"/>
              <a:gd name="connsiteY311" fmla="*/ 365956 h 6858000"/>
              <a:gd name="connsiteX312" fmla="*/ 1449264 w 12207875"/>
              <a:gd name="connsiteY312" fmla="*/ 377362 h 6858000"/>
              <a:gd name="connsiteX313" fmla="*/ 1442251 w 12207875"/>
              <a:gd name="connsiteY313" fmla="*/ 377362 h 6858000"/>
              <a:gd name="connsiteX314" fmla="*/ 1442251 w 12207875"/>
              <a:gd name="connsiteY314" fmla="*/ 384800 h 6858000"/>
              <a:gd name="connsiteX315" fmla="*/ 1449264 w 12207875"/>
              <a:gd name="connsiteY315" fmla="*/ 384800 h 6858000"/>
              <a:gd name="connsiteX316" fmla="*/ 1449264 w 12207875"/>
              <a:gd name="connsiteY316" fmla="*/ 412929 h 6858000"/>
              <a:gd name="connsiteX317" fmla="*/ 1451232 w 12207875"/>
              <a:gd name="connsiteY317" fmla="*/ 420092 h 6858000"/>
              <a:gd name="connsiteX318" fmla="*/ 1456387 w 12207875"/>
              <a:gd name="connsiteY318" fmla="*/ 424307 h 6858000"/>
              <a:gd name="connsiteX319" fmla="*/ 1463261 w 12207875"/>
              <a:gd name="connsiteY319" fmla="*/ 425602 h 6858000"/>
              <a:gd name="connsiteX320" fmla="*/ 1467003 w 12207875"/>
              <a:gd name="connsiteY320" fmla="*/ 425243 h 6858000"/>
              <a:gd name="connsiteX321" fmla="*/ 1469303 w 12207875"/>
              <a:gd name="connsiteY321" fmla="*/ 424610 h 6858000"/>
              <a:gd name="connsiteX322" fmla="*/ 1467612 w 12207875"/>
              <a:gd name="connsiteY322" fmla="*/ 416951 h 6858000"/>
              <a:gd name="connsiteX323" fmla="*/ 1466310 w 12207875"/>
              <a:gd name="connsiteY323" fmla="*/ 417171 h 6858000"/>
              <a:gd name="connsiteX324" fmla="*/ 1464342 w 12207875"/>
              <a:gd name="connsiteY324" fmla="*/ 417337 h 6858000"/>
              <a:gd name="connsiteX325" fmla="*/ 1461515 w 12207875"/>
              <a:gd name="connsiteY325" fmla="*/ 416868 h 6858000"/>
              <a:gd name="connsiteX326" fmla="*/ 1459408 w 12207875"/>
              <a:gd name="connsiteY326" fmla="*/ 415050 h 6858000"/>
              <a:gd name="connsiteX327" fmla="*/ 1458604 w 12207875"/>
              <a:gd name="connsiteY327" fmla="*/ 411000 h 6858000"/>
              <a:gd name="connsiteX328" fmla="*/ 1458604 w 12207875"/>
              <a:gd name="connsiteY328" fmla="*/ 384800 h 6858000"/>
              <a:gd name="connsiteX329" fmla="*/ 1468416 w 12207875"/>
              <a:gd name="connsiteY329" fmla="*/ 384800 h 6858000"/>
              <a:gd name="connsiteX330" fmla="*/ 1468416 w 12207875"/>
              <a:gd name="connsiteY330" fmla="*/ 377362 h 6858000"/>
              <a:gd name="connsiteX331" fmla="*/ 1458604 w 12207875"/>
              <a:gd name="connsiteY331" fmla="*/ 377362 h 6858000"/>
              <a:gd name="connsiteX332" fmla="*/ 1458604 w 12207875"/>
              <a:gd name="connsiteY332" fmla="*/ 365956 h 6858000"/>
              <a:gd name="connsiteX333" fmla="*/ 1341692 w 12207875"/>
              <a:gd name="connsiteY333" fmla="*/ 361466 h 6858000"/>
              <a:gd name="connsiteX334" fmla="*/ 1341692 w 12207875"/>
              <a:gd name="connsiteY334" fmla="*/ 424941 h 6858000"/>
              <a:gd name="connsiteX335" fmla="*/ 1350783 w 12207875"/>
              <a:gd name="connsiteY335" fmla="*/ 424941 h 6858000"/>
              <a:gd name="connsiteX336" fmla="*/ 1350783 w 12207875"/>
              <a:gd name="connsiteY336" fmla="*/ 417530 h 6858000"/>
              <a:gd name="connsiteX337" fmla="*/ 1351560 w 12207875"/>
              <a:gd name="connsiteY337" fmla="*/ 417530 h 6858000"/>
              <a:gd name="connsiteX338" fmla="*/ 1353971 w 12207875"/>
              <a:gd name="connsiteY338" fmla="*/ 421002 h 6858000"/>
              <a:gd name="connsiteX339" fmla="*/ 1358295 w 12207875"/>
              <a:gd name="connsiteY339" fmla="*/ 424418 h 6858000"/>
              <a:gd name="connsiteX340" fmla="*/ 1365418 w 12207875"/>
              <a:gd name="connsiteY340" fmla="*/ 425878 h 6858000"/>
              <a:gd name="connsiteX341" fmla="*/ 1375757 w 12207875"/>
              <a:gd name="connsiteY341" fmla="*/ 422930 h 6858000"/>
              <a:gd name="connsiteX342" fmla="*/ 1382881 w 12207875"/>
              <a:gd name="connsiteY342" fmla="*/ 414472 h 6858000"/>
              <a:gd name="connsiteX343" fmla="*/ 1385458 w 12207875"/>
              <a:gd name="connsiteY343" fmla="*/ 401248 h 6858000"/>
              <a:gd name="connsiteX344" fmla="*/ 1382853 w 12207875"/>
              <a:gd name="connsiteY344" fmla="*/ 388052 h 6858000"/>
              <a:gd name="connsiteX345" fmla="*/ 1375674 w 12207875"/>
              <a:gd name="connsiteY345" fmla="*/ 379621 h 6858000"/>
              <a:gd name="connsiteX346" fmla="*/ 1365335 w 12207875"/>
              <a:gd name="connsiteY346" fmla="*/ 376701 h 6858000"/>
              <a:gd name="connsiteX347" fmla="*/ 1358156 w 12207875"/>
              <a:gd name="connsiteY347" fmla="*/ 378161 h 6858000"/>
              <a:gd name="connsiteX348" fmla="*/ 1353916 w 12207875"/>
              <a:gd name="connsiteY348" fmla="*/ 381578 h 6858000"/>
              <a:gd name="connsiteX349" fmla="*/ 1351560 w 12207875"/>
              <a:gd name="connsiteY349" fmla="*/ 385021 h 6858000"/>
              <a:gd name="connsiteX350" fmla="*/ 1351005 w 12207875"/>
              <a:gd name="connsiteY350" fmla="*/ 385021 h 6858000"/>
              <a:gd name="connsiteX351" fmla="*/ 1351005 w 12207875"/>
              <a:gd name="connsiteY351" fmla="*/ 361466 h 6858000"/>
              <a:gd name="connsiteX352" fmla="*/ 1146949 w 12207875"/>
              <a:gd name="connsiteY352" fmla="*/ 358490 h 6858000"/>
              <a:gd name="connsiteX353" fmla="*/ 1139909 w 12207875"/>
              <a:gd name="connsiteY353" fmla="*/ 359978 h 6858000"/>
              <a:gd name="connsiteX354" fmla="*/ 1134698 w 12207875"/>
              <a:gd name="connsiteY354" fmla="*/ 364413 h 6858000"/>
              <a:gd name="connsiteX355" fmla="*/ 1132730 w 12207875"/>
              <a:gd name="connsiteY355" fmla="*/ 371824 h 6858000"/>
              <a:gd name="connsiteX356" fmla="*/ 1132730 w 12207875"/>
              <a:gd name="connsiteY356" fmla="*/ 377334 h 6858000"/>
              <a:gd name="connsiteX357" fmla="*/ 1125302 w 12207875"/>
              <a:gd name="connsiteY357" fmla="*/ 377334 h 6858000"/>
              <a:gd name="connsiteX358" fmla="*/ 1125302 w 12207875"/>
              <a:gd name="connsiteY358" fmla="*/ 384773 h 6858000"/>
              <a:gd name="connsiteX359" fmla="*/ 1132730 w 12207875"/>
              <a:gd name="connsiteY359" fmla="*/ 384773 h 6858000"/>
              <a:gd name="connsiteX360" fmla="*/ 1132730 w 12207875"/>
              <a:gd name="connsiteY360" fmla="*/ 424968 h 6858000"/>
              <a:gd name="connsiteX361" fmla="*/ 1142043 w 12207875"/>
              <a:gd name="connsiteY361" fmla="*/ 424968 h 6858000"/>
              <a:gd name="connsiteX362" fmla="*/ 1142043 w 12207875"/>
              <a:gd name="connsiteY362" fmla="*/ 384773 h 6858000"/>
              <a:gd name="connsiteX363" fmla="*/ 1152382 w 12207875"/>
              <a:gd name="connsiteY363" fmla="*/ 384773 h 6858000"/>
              <a:gd name="connsiteX364" fmla="*/ 1152382 w 12207875"/>
              <a:gd name="connsiteY364" fmla="*/ 377334 h 6858000"/>
              <a:gd name="connsiteX365" fmla="*/ 1142043 w 12207875"/>
              <a:gd name="connsiteY365" fmla="*/ 377334 h 6858000"/>
              <a:gd name="connsiteX366" fmla="*/ 1142043 w 12207875"/>
              <a:gd name="connsiteY366" fmla="*/ 373064 h 6858000"/>
              <a:gd name="connsiteX367" fmla="*/ 1143485 w 12207875"/>
              <a:gd name="connsiteY367" fmla="*/ 368215 h 6858000"/>
              <a:gd name="connsiteX368" fmla="*/ 1148335 w 12207875"/>
              <a:gd name="connsiteY368" fmla="*/ 366535 h 6858000"/>
              <a:gd name="connsiteX369" fmla="*/ 1150830 w 12207875"/>
              <a:gd name="connsiteY369" fmla="*/ 366810 h 6858000"/>
              <a:gd name="connsiteX370" fmla="*/ 1152520 w 12207875"/>
              <a:gd name="connsiteY370" fmla="*/ 367251 h 6858000"/>
              <a:gd name="connsiteX371" fmla="*/ 1154710 w 12207875"/>
              <a:gd name="connsiteY371" fmla="*/ 359757 h 6858000"/>
              <a:gd name="connsiteX372" fmla="*/ 1151744 w 12207875"/>
              <a:gd name="connsiteY372" fmla="*/ 358931 h 6858000"/>
              <a:gd name="connsiteX373" fmla="*/ 1146949 w 12207875"/>
              <a:gd name="connsiteY373" fmla="*/ 358490 h 6858000"/>
              <a:gd name="connsiteX374" fmla="*/ 1594752 w 12207875"/>
              <a:gd name="connsiteY374" fmla="*/ 295704 h 6858000"/>
              <a:gd name="connsiteX375" fmla="*/ 1601626 w 12207875"/>
              <a:gd name="connsiteY375" fmla="*/ 297770 h 6858000"/>
              <a:gd name="connsiteX376" fmla="*/ 1605839 w 12207875"/>
              <a:gd name="connsiteY376" fmla="*/ 303501 h 6858000"/>
              <a:gd name="connsiteX377" fmla="*/ 1607280 w 12207875"/>
              <a:gd name="connsiteY377" fmla="*/ 311958 h 6858000"/>
              <a:gd name="connsiteX378" fmla="*/ 1605811 w 12207875"/>
              <a:gd name="connsiteY378" fmla="*/ 320361 h 6858000"/>
              <a:gd name="connsiteX379" fmla="*/ 1601570 w 12207875"/>
              <a:gd name="connsiteY379" fmla="*/ 325761 h 6858000"/>
              <a:gd name="connsiteX380" fmla="*/ 1594752 w 12207875"/>
              <a:gd name="connsiteY380" fmla="*/ 327634 h 6858000"/>
              <a:gd name="connsiteX381" fmla="*/ 1587795 w 12207875"/>
              <a:gd name="connsiteY381" fmla="*/ 325651 h 6858000"/>
              <a:gd name="connsiteX382" fmla="*/ 1583554 w 12207875"/>
              <a:gd name="connsiteY382" fmla="*/ 320141 h 6858000"/>
              <a:gd name="connsiteX383" fmla="*/ 1582112 w 12207875"/>
              <a:gd name="connsiteY383" fmla="*/ 311931 h 6858000"/>
              <a:gd name="connsiteX384" fmla="*/ 1583526 w 12207875"/>
              <a:gd name="connsiteY384" fmla="*/ 303693 h 6858000"/>
              <a:gd name="connsiteX385" fmla="*/ 1587739 w 12207875"/>
              <a:gd name="connsiteY385" fmla="*/ 297853 h 6858000"/>
              <a:gd name="connsiteX386" fmla="*/ 1594752 w 12207875"/>
              <a:gd name="connsiteY386" fmla="*/ 295704 h 6858000"/>
              <a:gd name="connsiteX387" fmla="*/ 1254992 w 12207875"/>
              <a:gd name="connsiteY387" fmla="*/ 295704 h 6858000"/>
              <a:gd name="connsiteX388" fmla="*/ 1261866 w 12207875"/>
              <a:gd name="connsiteY388" fmla="*/ 297770 h 6858000"/>
              <a:gd name="connsiteX389" fmla="*/ 1266079 w 12207875"/>
              <a:gd name="connsiteY389" fmla="*/ 303501 h 6858000"/>
              <a:gd name="connsiteX390" fmla="*/ 1267520 w 12207875"/>
              <a:gd name="connsiteY390" fmla="*/ 311958 h 6858000"/>
              <a:gd name="connsiteX391" fmla="*/ 1266051 w 12207875"/>
              <a:gd name="connsiteY391" fmla="*/ 320361 h 6858000"/>
              <a:gd name="connsiteX392" fmla="*/ 1261810 w 12207875"/>
              <a:gd name="connsiteY392" fmla="*/ 325761 h 6858000"/>
              <a:gd name="connsiteX393" fmla="*/ 1254992 w 12207875"/>
              <a:gd name="connsiteY393" fmla="*/ 327634 h 6858000"/>
              <a:gd name="connsiteX394" fmla="*/ 1248035 w 12207875"/>
              <a:gd name="connsiteY394" fmla="*/ 325651 h 6858000"/>
              <a:gd name="connsiteX395" fmla="*/ 1243794 w 12207875"/>
              <a:gd name="connsiteY395" fmla="*/ 320141 h 6858000"/>
              <a:gd name="connsiteX396" fmla="*/ 1242353 w 12207875"/>
              <a:gd name="connsiteY396" fmla="*/ 311931 h 6858000"/>
              <a:gd name="connsiteX397" fmla="*/ 1243766 w 12207875"/>
              <a:gd name="connsiteY397" fmla="*/ 303693 h 6858000"/>
              <a:gd name="connsiteX398" fmla="*/ 1247979 w 12207875"/>
              <a:gd name="connsiteY398" fmla="*/ 297853 h 6858000"/>
              <a:gd name="connsiteX399" fmla="*/ 1254992 w 12207875"/>
              <a:gd name="connsiteY399" fmla="*/ 295704 h 6858000"/>
              <a:gd name="connsiteX400" fmla="*/ 1435155 w 12207875"/>
              <a:gd name="connsiteY400" fmla="*/ 295456 h 6858000"/>
              <a:gd name="connsiteX401" fmla="*/ 1441474 w 12207875"/>
              <a:gd name="connsiteY401" fmla="*/ 297109 h 6858000"/>
              <a:gd name="connsiteX402" fmla="*/ 1445660 w 12207875"/>
              <a:gd name="connsiteY402" fmla="*/ 301599 h 6858000"/>
              <a:gd name="connsiteX403" fmla="*/ 1447156 w 12207875"/>
              <a:gd name="connsiteY403" fmla="*/ 308101 h 6858000"/>
              <a:gd name="connsiteX404" fmla="*/ 1422349 w 12207875"/>
              <a:gd name="connsiteY404" fmla="*/ 308101 h 6858000"/>
              <a:gd name="connsiteX405" fmla="*/ 1423818 w 12207875"/>
              <a:gd name="connsiteY405" fmla="*/ 302316 h 6858000"/>
              <a:gd name="connsiteX406" fmla="*/ 1428309 w 12207875"/>
              <a:gd name="connsiteY406" fmla="*/ 297357 h 6858000"/>
              <a:gd name="connsiteX407" fmla="*/ 1435155 w 12207875"/>
              <a:gd name="connsiteY407" fmla="*/ 295456 h 6858000"/>
              <a:gd name="connsiteX408" fmla="*/ 1383573 w 12207875"/>
              <a:gd name="connsiteY408" fmla="*/ 295456 h 6858000"/>
              <a:gd name="connsiteX409" fmla="*/ 1389893 w 12207875"/>
              <a:gd name="connsiteY409" fmla="*/ 297109 h 6858000"/>
              <a:gd name="connsiteX410" fmla="*/ 1394078 w 12207875"/>
              <a:gd name="connsiteY410" fmla="*/ 301599 h 6858000"/>
              <a:gd name="connsiteX411" fmla="*/ 1395575 w 12207875"/>
              <a:gd name="connsiteY411" fmla="*/ 308101 h 6858000"/>
              <a:gd name="connsiteX412" fmla="*/ 1370768 w 12207875"/>
              <a:gd name="connsiteY412" fmla="*/ 308101 h 6858000"/>
              <a:gd name="connsiteX413" fmla="*/ 1372237 w 12207875"/>
              <a:gd name="connsiteY413" fmla="*/ 302316 h 6858000"/>
              <a:gd name="connsiteX414" fmla="*/ 1376727 w 12207875"/>
              <a:gd name="connsiteY414" fmla="*/ 297357 h 6858000"/>
              <a:gd name="connsiteX415" fmla="*/ 1383573 w 12207875"/>
              <a:gd name="connsiteY415" fmla="*/ 295456 h 6858000"/>
              <a:gd name="connsiteX416" fmla="*/ 1500429 w 12207875"/>
              <a:gd name="connsiteY416" fmla="*/ 288403 h 6858000"/>
              <a:gd name="connsiteX417" fmla="*/ 1500429 w 12207875"/>
              <a:gd name="connsiteY417" fmla="*/ 336009 h 6858000"/>
              <a:gd name="connsiteX418" fmla="*/ 1509770 w 12207875"/>
              <a:gd name="connsiteY418" fmla="*/ 336009 h 6858000"/>
              <a:gd name="connsiteX419" fmla="*/ 1509770 w 12207875"/>
              <a:gd name="connsiteY419" fmla="*/ 288403 h 6858000"/>
              <a:gd name="connsiteX420" fmla="*/ 1289195 w 12207875"/>
              <a:gd name="connsiteY420" fmla="*/ 288403 h 6858000"/>
              <a:gd name="connsiteX421" fmla="*/ 1289195 w 12207875"/>
              <a:gd name="connsiteY421" fmla="*/ 336009 h 6858000"/>
              <a:gd name="connsiteX422" fmla="*/ 1298536 w 12207875"/>
              <a:gd name="connsiteY422" fmla="*/ 336009 h 6858000"/>
              <a:gd name="connsiteX423" fmla="*/ 1298536 w 12207875"/>
              <a:gd name="connsiteY423" fmla="*/ 288403 h 6858000"/>
              <a:gd name="connsiteX424" fmla="*/ 1435099 w 12207875"/>
              <a:gd name="connsiteY424" fmla="*/ 287852 h 6858000"/>
              <a:gd name="connsiteX425" fmla="*/ 1423458 w 12207875"/>
              <a:gd name="connsiteY425" fmla="*/ 290993 h 6858000"/>
              <a:gd name="connsiteX426" fmla="*/ 1415725 w 12207875"/>
              <a:gd name="connsiteY426" fmla="*/ 299699 h 6858000"/>
              <a:gd name="connsiteX427" fmla="*/ 1412953 w 12207875"/>
              <a:gd name="connsiteY427" fmla="*/ 312592 h 6858000"/>
              <a:gd name="connsiteX428" fmla="*/ 1415725 w 12207875"/>
              <a:gd name="connsiteY428" fmla="*/ 325513 h 6858000"/>
              <a:gd name="connsiteX429" fmla="*/ 1423569 w 12207875"/>
              <a:gd name="connsiteY429" fmla="*/ 333971 h 6858000"/>
              <a:gd name="connsiteX430" fmla="*/ 1435765 w 12207875"/>
              <a:gd name="connsiteY430" fmla="*/ 337001 h 6858000"/>
              <a:gd name="connsiteX431" fmla="*/ 1445105 w 12207875"/>
              <a:gd name="connsiteY431" fmla="*/ 335403 h 6858000"/>
              <a:gd name="connsiteX432" fmla="*/ 1451924 w 12207875"/>
              <a:gd name="connsiteY432" fmla="*/ 330913 h 6858000"/>
              <a:gd name="connsiteX433" fmla="*/ 1455721 w 12207875"/>
              <a:gd name="connsiteY433" fmla="*/ 324135 h 6858000"/>
              <a:gd name="connsiteX434" fmla="*/ 1446907 w 12207875"/>
              <a:gd name="connsiteY434" fmla="*/ 322565 h 6858000"/>
              <a:gd name="connsiteX435" fmla="*/ 1444468 w 12207875"/>
              <a:gd name="connsiteY435" fmla="*/ 326312 h 6858000"/>
              <a:gd name="connsiteX436" fmla="*/ 1440698 w 12207875"/>
              <a:gd name="connsiteY436" fmla="*/ 328598 h 6858000"/>
              <a:gd name="connsiteX437" fmla="*/ 1435875 w 12207875"/>
              <a:gd name="connsiteY437" fmla="*/ 329370 h 6858000"/>
              <a:gd name="connsiteX438" fmla="*/ 1428724 w 12207875"/>
              <a:gd name="connsiteY438" fmla="*/ 327607 h 6858000"/>
              <a:gd name="connsiteX439" fmla="*/ 1423985 w 12207875"/>
              <a:gd name="connsiteY439" fmla="*/ 322510 h 6858000"/>
              <a:gd name="connsiteX440" fmla="*/ 1422349 w 12207875"/>
              <a:gd name="connsiteY440" fmla="*/ 315044 h 6858000"/>
              <a:gd name="connsiteX441" fmla="*/ 1456303 w 12207875"/>
              <a:gd name="connsiteY441" fmla="*/ 315044 h 6858000"/>
              <a:gd name="connsiteX442" fmla="*/ 1456303 w 12207875"/>
              <a:gd name="connsiteY442" fmla="*/ 311765 h 6858000"/>
              <a:gd name="connsiteX443" fmla="*/ 1454557 w 12207875"/>
              <a:gd name="connsiteY443" fmla="*/ 300745 h 6858000"/>
              <a:gd name="connsiteX444" fmla="*/ 1449789 w 12207875"/>
              <a:gd name="connsiteY444" fmla="*/ 293362 h 6858000"/>
              <a:gd name="connsiteX445" fmla="*/ 1442971 w 12207875"/>
              <a:gd name="connsiteY445" fmla="*/ 289174 h 6858000"/>
              <a:gd name="connsiteX446" fmla="*/ 1435099 w 12207875"/>
              <a:gd name="connsiteY446" fmla="*/ 287852 h 6858000"/>
              <a:gd name="connsiteX447" fmla="*/ 1383545 w 12207875"/>
              <a:gd name="connsiteY447" fmla="*/ 287852 h 6858000"/>
              <a:gd name="connsiteX448" fmla="*/ 1371904 w 12207875"/>
              <a:gd name="connsiteY448" fmla="*/ 290993 h 6858000"/>
              <a:gd name="connsiteX449" fmla="*/ 1364171 w 12207875"/>
              <a:gd name="connsiteY449" fmla="*/ 299699 h 6858000"/>
              <a:gd name="connsiteX450" fmla="*/ 1361399 w 12207875"/>
              <a:gd name="connsiteY450" fmla="*/ 312592 h 6858000"/>
              <a:gd name="connsiteX451" fmla="*/ 1364171 w 12207875"/>
              <a:gd name="connsiteY451" fmla="*/ 325513 h 6858000"/>
              <a:gd name="connsiteX452" fmla="*/ 1371987 w 12207875"/>
              <a:gd name="connsiteY452" fmla="*/ 333971 h 6858000"/>
              <a:gd name="connsiteX453" fmla="*/ 1384183 w 12207875"/>
              <a:gd name="connsiteY453" fmla="*/ 337001 h 6858000"/>
              <a:gd name="connsiteX454" fmla="*/ 1393524 w 12207875"/>
              <a:gd name="connsiteY454" fmla="*/ 335403 h 6858000"/>
              <a:gd name="connsiteX455" fmla="*/ 1400342 w 12207875"/>
              <a:gd name="connsiteY455" fmla="*/ 330913 h 6858000"/>
              <a:gd name="connsiteX456" fmla="*/ 1404139 w 12207875"/>
              <a:gd name="connsiteY456" fmla="*/ 324135 h 6858000"/>
              <a:gd name="connsiteX457" fmla="*/ 1395325 w 12207875"/>
              <a:gd name="connsiteY457" fmla="*/ 322565 h 6858000"/>
              <a:gd name="connsiteX458" fmla="*/ 1392886 w 12207875"/>
              <a:gd name="connsiteY458" fmla="*/ 326312 h 6858000"/>
              <a:gd name="connsiteX459" fmla="*/ 1389116 w 12207875"/>
              <a:gd name="connsiteY459" fmla="*/ 328598 h 6858000"/>
              <a:gd name="connsiteX460" fmla="*/ 1384294 w 12207875"/>
              <a:gd name="connsiteY460" fmla="*/ 329370 h 6858000"/>
              <a:gd name="connsiteX461" fmla="*/ 1377143 w 12207875"/>
              <a:gd name="connsiteY461" fmla="*/ 327607 h 6858000"/>
              <a:gd name="connsiteX462" fmla="*/ 1372403 w 12207875"/>
              <a:gd name="connsiteY462" fmla="*/ 322510 h 6858000"/>
              <a:gd name="connsiteX463" fmla="*/ 1370768 w 12207875"/>
              <a:gd name="connsiteY463" fmla="*/ 315044 h 6858000"/>
              <a:gd name="connsiteX464" fmla="*/ 1404749 w 12207875"/>
              <a:gd name="connsiteY464" fmla="*/ 315044 h 6858000"/>
              <a:gd name="connsiteX465" fmla="*/ 1404749 w 12207875"/>
              <a:gd name="connsiteY465" fmla="*/ 311765 h 6858000"/>
              <a:gd name="connsiteX466" fmla="*/ 1403003 w 12207875"/>
              <a:gd name="connsiteY466" fmla="*/ 300745 h 6858000"/>
              <a:gd name="connsiteX467" fmla="*/ 1398235 w 12207875"/>
              <a:gd name="connsiteY467" fmla="*/ 293362 h 6858000"/>
              <a:gd name="connsiteX468" fmla="*/ 1391417 w 12207875"/>
              <a:gd name="connsiteY468" fmla="*/ 289174 h 6858000"/>
              <a:gd name="connsiteX469" fmla="*/ 1383545 w 12207875"/>
              <a:gd name="connsiteY469" fmla="*/ 287852 h 6858000"/>
              <a:gd name="connsiteX470" fmla="*/ 1592728 w 12207875"/>
              <a:gd name="connsiteY470" fmla="*/ 287797 h 6858000"/>
              <a:gd name="connsiteX471" fmla="*/ 1582390 w 12207875"/>
              <a:gd name="connsiteY471" fmla="*/ 290690 h 6858000"/>
              <a:gd name="connsiteX472" fmla="*/ 1575239 w 12207875"/>
              <a:gd name="connsiteY472" fmla="*/ 299010 h 6858000"/>
              <a:gd name="connsiteX473" fmla="*/ 1572633 w 12207875"/>
              <a:gd name="connsiteY473" fmla="*/ 312041 h 6858000"/>
              <a:gd name="connsiteX474" fmla="*/ 1575266 w 12207875"/>
              <a:gd name="connsiteY474" fmla="*/ 324824 h 6858000"/>
              <a:gd name="connsiteX475" fmla="*/ 1582445 w 12207875"/>
              <a:gd name="connsiteY475" fmla="*/ 332676 h 6858000"/>
              <a:gd name="connsiteX476" fmla="*/ 1592645 w 12207875"/>
              <a:gd name="connsiteY476" fmla="*/ 335321 h 6858000"/>
              <a:gd name="connsiteX477" fmla="*/ 1599796 w 12207875"/>
              <a:gd name="connsiteY477" fmla="*/ 333943 h 6858000"/>
              <a:gd name="connsiteX478" fmla="*/ 1604120 w 12207875"/>
              <a:gd name="connsiteY478" fmla="*/ 330720 h 6858000"/>
              <a:gd name="connsiteX479" fmla="*/ 1606532 w 12207875"/>
              <a:gd name="connsiteY479" fmla="*/ 327331 h 6858000"/>
              <a:gd name="connsiteX480" fmla="*/ 1607114 w 12207875"/>
              <a:gd name="connsiteY480" fmla="*/ 327331 h 6858000"/>
              <a:gd name="connsiteX481" fmla="*/ 1607114 w 12207875"/>
              <a:gd name="connsiteY481" fmla="*/ 336698 h 6858000"/>
              <a:gd name="connsiteX482" fmla="*/ 1603649 w 12207875"/>
              <a:gd name="connsiteY482" fmla="*/ 344770 h 6858000"/>
              <a:gd name="connsiteX483" fmla="*/ 1594890 w 12207875"/>
              <a:gd name="connsiteY483" fmla="*/ 347305 h 6858000"/>
              <a:gd name="connsiteX484" fmla="*/ 1588571 w 12207875"/>
              <a:gd name="connsiteY484" fmla="*/ 346231 h 6858000"/>
              <a:gd name="connsiteX485" fmla="*/ 1584718 w 12207875"/>
              <a:gd name="connsiteY485" fmla="*/ 343613 h 6858000"/>
              <a:gd name="connsiteX486" fmla="*/ 1582445 w 12207875"/>
              <a:gd name="connsiteY486" fmla="*/ 340803 h 6858000"/>
              <a:gd name="connsiteX487" fmla="*/ 1574435 w 12207875"/>
              <a:gd name="connsiteY487" fmla="*/ 344082 h 6858000"/>
              <a:gd name="connsiteX488" fmla="*/ 1578287 w 12207875"/>
              <a:gd name="connsiteY488" fmla="*/ 349371 h 6858000"/>
              <a:gd name="connsiteX489" fmla="*/ 1584967 w 12207875"/>
              <a:gd name="connsiteY489" fmla="*/ 353283 h 6858000"/>
              <a:gd name="connsiteX490" fmla="*/ 1594779 w 12207875"/>
              <a:gd name="connsiteY490" fmla="*/ 354771 h 6858000"/>
              <a:gd name="connsiteX491" fmla="*/ 1605756 w 12207875"/>
              <a:gd name="connsiteY491" fmla="*/ 352870 h 6858000"/>
              <a:gd name="connsiteX492" fmla="*/ 1613517 w 12207875"/>
              <a:gd name="connsiteY492" fmla="*/ 347057 h 6858000"/>
              <a:gd name="connsiteX493" fmla="*/ 1616399 w 12207875"/>
              <a:gd name="connsiteY493" fmla="*/ 337056 h 6858000"/>
              <a:gd name="connsiteX494" fmla="*/ 1616399 w 12207875"/>
              <a:gd name="connsiteY494" fmla="*/ 288403 h 6858000"/>
              <a:gd name="connsiteX495" fmla="*/ 1607308 w 12207875"/>
              <a:gd name="connsiteY495" fmla="*/ 288403 h 6858000"/>
              <a:gd name="connsiteX496" fmla="*/ 1607308 w 12207875"/>
              <a:gd name="connsiteY496" fmla="*/ 296117 h 6858000"/>
              <a:gd name="connsiteX497" fmla="*/ 1606615 w 12207875"/>
              <a:gd name="connsiteY497" fmla="*/ 296117 h 6858000"/>
              <a:gd name="connsiteX498" fmla="*/ 1604231 w 12207875"/>
              <a:gd name="connsiteY498" fmla="*/ 292673 h 6858000"/>
              <a:gd name="connsiteX499" fmla="*/ 1599935 w 12207875"/>
              <a:gd name="connsiteY499" fmla="*/ 289257 h 6858000"/>
              <a:gd name="connsiteX500" fmla="*/ 1592728 w 12207875"/>
              <a:gd name="connsiteY500" fmla="*/ 287797 h 6858000"/>
              <a:gd name="connsiteX501" fmla="*/ 1252996 w 12207875"/>
              <a:gd name="connsiteY501" fmla="*/ 287797 h 6858000"/>
              <a:gd name="connsiteX502" fmla="*/ 1242658 w 12207875"/>
              <a:gd name="connsiteY502" fmla="*/ 290690 h 6858000"/>
              <a:gd name="connsiteX503" fmla="*/ 1235506 w 12207875"/>
              <a:gd name="connsiteY503" fmla="*/ 299010 h 6858000"/>
              <a:gd name="connsiteX504" fmla="*/ 1232901 w 12207875"/>
              <a:gd name="connsiteY504" fmla="*/ 312041 h 6858000"/>
              <a:gd name="connsiteX505" fmla="*/ 1235534 w 12207875"/>
              <a:gd name="connsiteY505" fmla="*/ 324824 h 6858000"/>
              <a:gd name="connsiteX506" fmla="*/ 1242713 w 12207875"/>
              <a:gd name="connsiteY506" fmla="*/ 332676 h 6858000"/>
              <a:gd name="connsiteX507" fmla="*/ 1252913 w 12207875"/>
              <a:gd name="connsiteY507" fmla="*/ 335321 h 6858000"/>
              <a:gd name="connsiteX508" fmla="*/ 1260064 w 12207875"/>
              <a:gd name="connsiteY508" fmla="*/ 333943 h 6858000"/>
              <a:gd name="connsiteX509" fmla="*/ 1264388 w 12207875"/>
              <a:gd name="connsiteY509" fmla="*/ 330720 h 6858000"/>
              <a:gd name="connsiteX510" fmla="*/ 1266799 w 12207875"/>
              <a:gd name="connsiteY510" fmla="*/ 327331 h 6858000"/>
              <a:gd name="connsiteX511" fmla="*/ 1267381 w 12207875"/>
              <a:gd name="connsiteY511" fmla="*/ 327331 h 6858000"/>
              <a:gd name="connsiteX512" fmla="*/ 1267381 w 12207875"/>
              <a:gd name="connsiteY512" fmla="*/ 336698 h 6858000"/>
              <a:gd name="connsiteX513" fmla="*/ 1263917 w 12207875"/>
              <a:gd name="connsiteY513" fmla="*/ 344770 h 6858000"/>
              <a:gd name="connsiteX514" fmla="*/ 1255158 w 12207875"/>
              <a:gd name="connsiteY514" fmla="*/ 347305 h 6858000"/>
              <a:gd name="connsiteX515" fmla="*/ 1248839 w 12207875"/>
              <a:gd name="connsiteY515" fmla="*/ 346231 h 6858000"/>
              <a:gd name="connsiteX516" fmla="*/ 1244986 w 12207875"/>
              <a:gd name="connsiteY516" fmla="*/ 343613 h 6858000"/>
              <a:gd name="connsiteX517" fmla="*/ 1242713 w 12207875"/>
              <a:gd name="connsiteY517" fmla="*/ 340803 h 6858000"/>
              <a:gd name="connsiteX518" fmla="*/ 1234703 w 12207875"/>
              <a:gd name="connsiteY518" fmla="*/ 344082 h 6858000"/>
              <a:gd name="connsiteX519" fmla="*/ 1238555 w 12207875"/>
              <a:gd name="connsiteY519" fmla="*/ 349371 h 6858000"/>
              <a:gd name="connsiteX520" fmla="*/ 1245235 w 12207875"/>
              <a:gd name="connsiteY520" fmla="*/ 353283 h 6858000"/>
              <a:gd name="connsiteX521" fmla="*/ 1255047 w 12207875"/>
              <a:gd name="connsiteY521" fmla="*/ 354771 h 6858000"/>
              <a:gd name="connsiteX522" fmla="*/ 1266079 w 12207875"/>
              <a:gd name="connsiteY522" fmla="*/ 352898 h 6858000"/>
              <a:gd name="connsiteX523" fmla="*/ 1273840 w 12207875"/>
              <a:gd name="connsiteY523" fmla="*/ 347085 h 6858000"/>
              <a:gd name="connsiteX524" fmla="*/ 1276722 w 12207875"/>
              <a:gd name="connsiteY524" fmla="*/ 337084 h 6858000"/>
              <a:gd name="connsiteX525" fmla="*/ 1276722 w 12207875"/>
              <a:gd name="connsiteY525" fmla="*/ 288403 h 6858000"/>
              <a:gd name="connsiteX526" fmla="*/ 1267576 w 12207875"/>
              <a:gd name="connsiteY526" fmla="*/ 288403 h 6858000"/>
              <a:gd name="connsiteX527" fmla="*/ 1267576 w 12207875"/>
              <a:gd name="connsiteY527" fmla="*/ 296117 h 6858000"/>
              <a:gd name="connsiteX528" fmla="*/ 1266882 w 12207875"/>
              <a:gd name="connsiteY528" fmla="*/ 296117 h 6858000"/>
              <a:gd name="connsiteX529" fmla="*/ 1264499 w 12207875"/>
              <a:gd name="connsiteY529" fmla="*/ 292673 h 6858000"/>
              <a:gd name="connsiteX530" fmla="*/ 1260203 w 12207875"/>
              <a:gd name="connsiteY530" fmla="*/ 289257 h 6858000"/>
              <a:gd name="connsiteX531" fmla="*/ 1252996 w 12207875"/>
              <a:gd name="connsiteY531" fmla="*/ 287797 h 6858000"/>
              <a:gd name="connsiteX532" fmla="*/ 1545997 w 12207875"/>
              <a:gd name="connsiteY532" fmla="*/ 287769 h 6858000"/>
              <a:gd name="connsiteX533" fmla="*/ 1537072 w 12207875"/>
              <a:gd name="connsiteY533" fmla="*/ 290056 h 6858000"/>
              <a:gd name="connsiteX534" fmla="*/ 1531889 w 12207875"/>
              <a:gd name="connsiteY534" fmla="*/ 296144 h 6858000"/>
              <a:gd name="connsiteX535" fmla="*/ 1531307 w 12207875"/>
              <a:gd name="connsiteY535" fmla="*/ 296144 h 6858000"/>
              <a:gd name="connsiteX536" fmla="*/ 1531307 w 12207875"/>
              <a:gd name="connsiteY536" fmla="*/ 288403 h 6858000"/>
              <a:gd name="connsiteX537" fmla="*/ 1522354 w 12207875"/>
              <a:gd name="connsiteY537" fmla="*/ 288403 h 6858000"/>
              <a:gd name="connsiteX538" fmla="*/ 1522354 w 12207875"/>
              <a:gd name="connsiteY538" fmla="*/ 336009 h 6858000"/>
              <a:gd name="connsiteX539" fmla="*/ 1531695 w 12207875"/>
              <a:gd name="connsiteY539" fmla="*/ 336009 h 6858000"/>
              <a:gd name="connsiteX540" fmla="*/ 1531695 w 12207875"/>
              <a:gd name="connsiteY540" fmla="*/ 307743 h 6858000"/>
              <a:gd name="connsiteX541" fmla="*/ 1533136 w 12207875"/>
              <a:gd name="connsiteY541" fmla="*/ 301268 h 6858000"/>
              <a:gd name="connsiteX542" fmla="*/ 1537100 w 12207875"/>
              <a:gd name="connsiteY542" fmla="*/ 297191 h 6858000"/>
              <a:gd name="connsiteX543" fmla="*/ 1542865 w 12207875"/>
              <a:gd name="connsiteY543" fmla="*/ 295786 h 6858000"/>
              <a:gd name="connsiteX544" fmla="*/ 1550321 w 12207875"/>
              <a:gd name="connsiteY544" fmla="*/ 298706 h 6858000"/>
              <a:gd name="connsiteX545" fmla="*/ 1553037 w 12207875"/>
              <a:gd name="connsiteY545" fmla="*/ 306806 h 6858000"/>
              <a:gd name="connsiteX546" fmla="*/ 1553037 w 12207875"/>
              <a:gd name="connsiteY546" fmla="*/ 335981 h 6858000"/>
              <a:gd name="connsiteX547" fmla="*/ 1562295 w 12207875"/>
              <a:gd name="connsiteY547" fmla="*/ 335981 h 6858000"/>
              <a:gd name="connsiteX548" fmla="*/ 1562295 w 12207875"/>
              <a:gd name="connsiteY548" fmla="*/ 305731 h 6858000"/>
              <a:gd name="connsiteX549" fmla="*/ 1560272 w 12207875"/>
              <a:gd name="connsiteY549" fmla="*/ 295841 h 6858000"/>
              <a:gd name="connsiteX550" fmla="*/ 1554562 w 12207875"/>
              <a:gd name="connsiteY550" fmla="*/ 289808 h 6858000"/>
              <a:gd name="connsiteX551" fmla="*/ 1545997 w 12207875"/>
              <a:gd name="connsiteY551" fmla="*/ 287769 h 6858000"/>
              <a:gd name="connsiteX552" fmla="*/ 1334790 w 12207875"/>
              <a:gd name="connsiteY552" fmla="*/ 287769 h 6858000"/>
              <a:gd name="connsiteX553" fmla="*/ 1325865 w 12207875"/>
              <a:gd name="connsiteY553" fmla="*/ 290056 h 6858000"/>
              <a:gd name="connsiteX554" fmla="*/ 1320682 w 12207875"/>
              <a:gd name="connsiteY554" fmla="*/ 296144 h 6858000"/>
              <a:gd name="connsiteX555" fmla="*/ 1320100 w 12207875"/>
              <a:gd name="connsiteY555" fmla="*/ 296144 h 6858000"/>
              <a:gd name="connsiteX556" fmla="*/ 1320100 w 12207875"/>
              <a:gd name="connsiteY556" fmla="*/ 288403 h 6858000"/>
              <a:gd name="connsiteX557" fmla="*/ 1311147 w 12207875"/>
              <a:gd name="connsiteY557" fmla="*/ 288403 h 6858000"/>
              <a:gd name="connsiteX558" fmla="*/ 1311147 w 12207875"/>
              <a:gd name="connsiteY558" fmla="*/ 336009 h 6858000"/>
              <a:gd name="connsiteX559" fmla="*/ 1320488 w 12207875"/>
              <a:gd name="connsiteY559" fmla="*/ 336009 h 6858000"/>
              <a:gd name="connsiteX560" fmla="*/ 1320488 w 12207875"/>
              <a:gd name="connsiteY560" fmla="*/ 307743 h 6858000"/>
              <a:gd name="connsiteX561" fmla="*/ 1320405 w 12207875"/>
              <a:gd name="connsiteY561" fmla="*/ 307743 h 6858000"/>
              <a:gd name="connsiteX562" fmla="*/ 1321846 w 12207875"/>
              <a:gd name="connsiteY562" fmla="*/ 301269 h 6858000"/>
              <a:gd name="connsiteX563" fmla="*/ 1325810 w 12207875"/>
              <a:gd name="connsiteY563" fmla="*/ 297191 h 6858000"/>
              <a:gd name="connsiteX564" fmla="*/ 1331575 w 12207875"/>
              <a:gd name="connsiteY564" fmla="*/ 295786 h 6858000"/>
              <a:gd name="connsiteX565" fmla="*/ 1339031 w 12207875"/>
              <a:gd name="connsiteY565" fmla="*/ 298706 h 6858000"/>
              <a:gd name="connsiteX566" fmla="*/ 1341747 w 12207875"/>
              <a:gd name="connsiteY566" fmla="*/ 306806 h 6858000"/>
              <a:gd name="connsiteX567" fmla="*/ 1341747 w 12207875"/>
              <a:gd name="connsiteY567" fmla="*/ 335982 h 6858000"/>
              <a:gd name="connsiteX568" fmla="*/ 1351088 w 12207875"/>
              <a:gd name="connsiteY568" fmla="*/ 335982 h 6858000"/>
              <a:gd name="connsiteX569" fmla="*/ 1351088 w 12207875"/>
              <a:gd name="connsiteY569" fmla="*/ 305732 h 6858000"/>
              <a:gd name="connsiteX570" fmla="*/ 1349065 w 12207875"/>
              <a:gd name="connsiteY570" fmla="*/ 295841 h 6858000"/>
              <a:gd name="connsiteX571" fmla="*/ 1343355 w 12207875"/>
              <a:gd name="connsiteY571" fmla="*/ 289808 h 6858000"/>
              <a:gd name="connsiteX572" fmla="*/ 1334790 w 12207875"/>
              <a:gd name="connsiteY572" fmla="*/ 287769 h 6858000"/>
              <a:gd name="connsiteX573" fmla="*/ 1206265 w 12207875"/>
              <a:gd name="connsiteY573" fmla="*/ 287769 h 6858000"/>
              <a:gd name="connsiteX574" fmla="*/ 1197340 w 12207875"/>
              <a:gd name="connsiteY574" fmla="*/ 290056 h 6858000"/>
              <a:gd name="connsiteX575" fmla="*/ 1192157 w 12207875"/>
              <a:gd name="connsiteY575" fmla="*/ 296144 h 6858000"/>
              <a:gd name="connsiteX576" fmla="*/ 1191575 w 12207875"/>
              <a:gd name="connsiteY576" fmla="*/ 296144 h 6858000"/>
              <a:gd name="connsiteX577" fmla="*/ 1191575 w 12207875"/>
              <a:gd name="connsiteY577" fmla="*/ 288403 h 6858000"/>
              <a:gd name="connsiteX578" fmla="*/ 1182622 w 12207875"/>
              <a:gd name="connsiteY578" fmla="*/ 288403 h 6858000"/>
              <a:gd name="connsiteX579" fmla="*/ 1182622 w 12207875"/>
              <a:gd name="connsiteY579" fmla="*/ 336009 h 6858000"/>
              <a:gd name="connsiteX580" fmla="*/ 1191963 w 12207875"/>
              <a:gd name="connsiteY580" fmla="*/ 336009 h 6858000"/>
              <a:gd name="connsiteX581" fmla="*/ 1191963 w 12207875"/>
              <a:gd name="connsiteY581" fmla="*/ 307743 h 6858000"/>
              <a:gd name="connsiteX582" fmla="*/ 1191880 w 12207875"/>
              <a:gd name="connsiteY582" fmla="*/ 307743 h 6858000"/>
              <a:gd name="connsiteX583" fmla="*/ 1193321 w 12207875"/>
              <a:gd name="connsiteY583" fmla="*/ 301269 h 6858000"/>
              <a:gd name="connsiteX584" fmla="*/ 1197285 w 12207875"/>
              <a:gd name="connsiteY584" fmla="*/ 297191 h 6858000"/>
              <a:gd name="connsiteX585" fmla="*/ 1203050 w 12207875"/>
              <a:gd name="connsiteY585" fmla="*/ 295786 h 6858000"/>
              <a:gd name="connsiteX586" fmla="*/ 1210506 w 12207875"/>
              <a:gd name="connsiteY586" fmla="*/ 298706 h 6858000"/>
              <a:gd name="connsiteX587" fmla="*/ 1213222 w 12207875"/>
              <a:gd name="connsiteY587" fmla="*/ 306806 h 6858000"/>
              <a:gd name="connsiteX588" fmla="*/ 1213222 w 12207875"/>
              <a:gd name="connsiteY588" fmla="*/ 335982 h 6858000"/>
              <a:gd name="connsiteX589" fmla="*/ 1222563 w 12207875"/>
              <a:gd name="connsiteY589" fmla="*/ 335982 h 6858000"/>
              <a:gd name="connsiteX590" fmla="*/ 1222563 w 12207875"/>
              <a:gd name="connsiteY590" fmla="*/ 305732 h 6858000"/>
              <a:gd name="connsiteX591" fmla="*/ 1220540 w 12207875"/>
              <a:gd name="connsiteY591" fmla="*/ 295841 h 6858000"/>
              <a:gd name="connsiteX592" fmla="*/ 1214830 w 12207875"/>
              <a:gd name="connsiteY592" fmla="*/ 289808 h 6858000"/>
              <a:gd name="connsiteX593" fmla="*/ 1206265 w 12207875"/>
              <a:gd name="connsiteY593" fmla="*/ 287769 h 6858000"/>
              <a:gd name="connsiteX594" fmla="*/ 1488372 w 12207875"/>
              <a:gd name="connsiteY594" fmla="*/ 287687 h 6858000"/>
              <a:gd name="connsiteX595" fmla="*/ 1480833 w 12207875"/>
              <a:gd name="connsiteY595" fmla="*/ 289891 h 6858000"/>
              <a:gd name="connsiteX596" fmla="*/ 1476204 w 12207875"/>
              <a:gd name="connsiteY596" fmla="*/ 295952 h 6858000"/>
              <a:gd name="connsiteX597" fmla="*/ 1475705 w 12207875"/>
              <a:gd name="connsiteY597" fmla="*/ 295952 h 6858000"/>
              <a:gd name="connsiteX598" fmla="*/ 1475705 w 12207875"/>
              <a:gd name="connsiteY598" fmla="*/ 288403 h 6858000"/>
              <a:gd name="connsiteX599" fmla="*/ 1466697 w 12207875"/>
              <a:gd name="connsiteY599" fmla="*/ 288403 h 6858000"/>
              <a:gd name="connsiteX600" fmla="*/ 1466697 w 12207875"/>
              <a:gd name="connsiteY600" fmla="*/ 336009 h 6858000"/>
              <a:gd name="connsiteX601" fmla="*/ 1476038 w 12207875"/>
              <a:gd name="connsiteY601" fmla="*/ 336009 h 6858000"/>
              <a:gd name="connsiteX602" fmla="*/ 1476038 w 12207875"/>
              <a:gd name="connsiteY602" fmla="*/ 306944 h 6858000"/>
              <a:gd name="connsiteX603" fmla="*/ 1477534 w 12207875"/>
              <a:gd name="connsiteY603" fmla="*/ 301407 h 6858000"/>
              <a:gd name="connsiteX604" fmla="*/ 1481609 w 12207875"/>
              <a:gd name="connsiteY604" fmla="*/ 297605 h 6858000"/>
              <a:gd name="connsiteX605" fmla="*/ 1487485 w 12207875"/>
              <a:gd name="connsiteY605" fmla="*/ 296227 h 6858000"/>
              <a:gd name="connsiteX606" fmla="*/ 1490340 w 12207875"/>
              <a:gd name="connsiteY606" fmla="*/ 296420 h 6858000"/>
              <a:gd name="connsiteX607" fmla="*/ 1492335 w 12207875"/>
              <a:gd name="connsiteY607" fmla="*/ 296778 h 6858000"/>
              <a:gd name="connsiteX608" fmla="*/ 1492335 w 12207875"/>
              <a:gd name="connsiteY608" fmla="*/ 287907 h 6858000"/>
              <a:gd name="connsiteX609" fmla="*/ 1490451 w 12207875"/>
              <a:gd name="connsiteY609" fmla="*/ 287742 h 6858000"/>
              <a:gd name="connsiteX610" fmla="*/ 1488372 w 12207875"/>
              <a:gd name="connsiteY610" fmla="*/ 287687 h 6858000"/>
              <a:gd name="connsiteX611" fmla="*/ 1130319 w 12207875"/>
              <a:gd name="connsiteY611" fmla="*/ 272535 h 6858000"/>
              <a:gd name="connsiteX612" fmla="*/ 1130319 w 12207875"/>
              <a:gd name="connsiteY612" fmla="*/ 336037 h 6858000"/>
              <a:gd name="connsiteX613" fmla="*/ 1170759 w 12207875"/>
              <a:gd name="connsiteY613" fmla="*/ 336037 h 6858000"/>
              <a:gd name="connsiteX614" fmla="*/ 1170759 w 12207875"/>
              <a:gd name="connsiteY614" fmla="*/ 327772 h 6858000"/>
              <a:gd name="connsiteX615" fmla="*/ 1139965 w 12207875"/>
              <a:gd name="connsiteY615" fmla="*/ 327772 h 6858000"/>
              <a:gd name="connsiteX616" fmla="*/ 1139965 w 12207875"/>
              <a:gd name="connsiteY616" fmla="*/ 308350 h 6858000"/>
              <a:gd name="connsiteX617" fmla="*/ 1168292 w 12207875"/>
              <a:gd name="connsiteY617" fmla="*/ 308350 h 6858000"/>
              <a:gd name="connsiteX618" fmla="*/ 1168292 w 12207875"/>
              <a:gd name="connsiteY618" fmla="*/ 300140 h 6858000"/>
              <a:gd name="connsiteX619" fmla="*/ 1139965 w 12207875"/>
              <a:gd name="connsiteY619" fmla="*/ 300140 h 6858000"/>
              <a:gd name="connsiteX620" fmla="*/ 1139965 w 12207875"/>
              <a:gd name="connsiteY620" fmla="*/ 280800 h 6858000"/>
              <a:gd name="connsiteX621" fmla="*/ 1170371 w 12207875"/>
              <a:gd name="connsiteY621" fmla="*/ 280800 h 6858000"/>
              <a:gd name="connsiteX622" fmla="*/ 1170371 w 12207875"/>
              <a:gd name="connsiteY622" fmla="*/ 272535 h 6858000"/>
              <a:gd name="connsiteX623" fmla="*/ 887431 w 12207875"/>
              <a:gd name="connsiteY623" fmla="*/ 272507 h 6858000"/>
              <a:gd name="connsiteX624" fmla="*/ 846964 w 12207875"/>
              <a:gd name="connsiteY624" fmla="*/ 352980 h 6858000"/>
              <a:gd name="connsiteX625" fmla="*/ 892005 w 12207875"/>
              <a:gd name="connsiteY625" fmla="*/ 352980 h 6858000"/>
              <a:gd name="connsiteX626" fmla="*/ 917948 w 12207875"/>
              <a:gd name="connsiteY626" fmla="*/ 301434 h 6858000"/>
              <a:gd name="connsiteX627" fmla="*/ 1024660 w 12207875"/>
              <a:gd name="connsiteY627" fmla="*/ 513871 h 6858000"/>
              <a:gd name="connsiteX628" fmla="*/ 1069673 w 12207875"/>
              <a:gd name="connsiteY628" fmla="*/ 513871 h 6858000"/>
              <a:gd name="connsiteX629" fmla="*/ 948133 w 12207875"/>
              <a:gd name="connsiteY629" fmla="*/ 272507 h 6858000"/>
              <a:gd name="connsiteX630" fmla="*/ 563637 w 12207875"/>
              <a:gd name="connsiteY630" fmla="*/ 272479 h 6858000"/>
              <a:gd name="connsiteX631" fmla="*/ 563637 w 12207875"/>
              <a:gd name="connsiteY631" fmla="*/ 352980 h 6858000"/>
              <a:gd name="connsiteX632" fmla="*/ 604132 w 12207875"/>
              <a:gd name="connsiteY632" fmla="*/ 352980 h 6858000"/>
              <a:gd name="connsiteX633" fmla="*/ 604132 w 12207875"/>
              <a:gd name="connsiteY633" fmla="*/ 312730 h 6858000"/>
              <a:gd name="connsiteX634" fmla="*/ 745796 w 12207875"/>
              <a:gd name="connsiteY634" fmla="*/ 312757 h 6858000"/>
              <a:gd name="connsiteX635" fmla="*/ 745796 w 12207875"/>
              <a:gd name="connsiteY635" fmla="*/ 272507 h 6858000"/>
              <a:gd name="connsiteX636" fmla="*/ 390736 w 12207875"/>
              <a:gd name="connsiteY636" fmla="*/ 272479 h 6858000"/>
              <a:gd name="connsiteX637" fmla="*/ 269999 w 12207875"/>
              <a:gd name="connsiteY637" fmla="*/ 393230 h 6858000"/>
              <a:gd name="connsiteX638" fmla="*/ 390736 w 12207875"/>
              <a:gd name="connsiteY638" fmla="*/ 513871 h 6858000"/>
              <a:gd name="connsiteX639" fmla="*/ 502964 w 12207875"/>
              <a:gd name="connsiteY639" fmla="*/ 513871 h 6858000"/>
              <a:gd name="connsiteX640" fmla="*/ 502964 w 12207875"/>
              <a:gd name="connsiteY640" fmla="*/ 413314 h 6858000"/>
              <a:gd name="connsiteX641" fmla="*/ 563665 w 12207875"/>
              <a:gd name="connsiteY641" fmla="*/ 413314 h 6858000"/>
              <a:gd name="connsiteX642" fmla="*/ 563665 w 12207875"/>
              <a:gd name="connsiteY642" fmla="*/ 513871 h 6858000"/>
              <a:gd name="connsiteX643" fmla="*/ 725562 w 12207875"/>
              <a:gd name="connsiteY643" fmla="*/ 513871 h 6858000"/>
              <a:gd name="connsiteX644" fmla="*/ 745795 w 12207875"/>
              <a:gd name="connsiteY644" fmla="*/ 473648 h 6858000"/>
              <a:gd name="connsiteX645" fmla="*/ 604132 w 12207875"/>
              <a:gd name="connsiteY645" fmla="*/ 473648 h 6858000"/>
              <a:gd name="connsiteX646" fmla="*/ 604132 w 12207875"/>
              <a:gd name="connsiteY646" fmla="*/ 413314 h 6858000"/>
              <a:gd name="connsiteX647" fmla="*/ 816364 w 12207875"/>
              <a:gd name="connsiteY647" fmla="*/ 413314 h 6858000"/>
              <a:gd name="connsiteX648" fmla="*/ 766029 w 12207875"/>
              <a:gd name="connsiteY648" fmla="*/ 513871 h 6858000"/>
              <a:gd name="connsiteX649" fmla="*/ 811042 w 12207875"/>
              <a:gd name="connsiteY649" fmla="*/ 513871 h 6858000"/>
              <a:gd name="connsiteX650" fmla="*/ 861626 w 12207875"/>
              <a:gd name="connsiteY650" fmla="*/ 413314 h 6858000"/>
              <a:gd name="connsiteX651" fmla="*/ 948132 w 12207875"/>
              <a:gd name="connsiteY651" fmla="*/ 413314 h 6858000"/>
              <a:gd name="connsiteX652" fmla="*/ 927898 w 12207875"/>
              <a:gd name="connsiteY652" fmla="*/ 373091 h 6858000"/>
              <a:gd name="connsiteX653" fmla="*/ 401768 w 12207875"/>
              <a:gd name="connsiteY653" fmla="*/ 373091 h 6858000"/>
              <a:gd name="connsiteX654" fmla="*/ 381534 w 12207875"/>
              <a:gd name="connsiteY654" fmla="*/ 413314 h 6858000"/>
              <a:gd name="connsiteX655" fmla="*/ 462469 w 12207875"/>
              <a:gd name="connsiteY655" fmla="*/ 413314 h 6858000"/>
              <a:gd name="connsiteX656" fmla="*/ 462469 w 12207875"/>
              <a:gd name="connsiteY656" fmla="*/ 473648 h 6858000"/>
              <a:gd name="connsiteX657" fmla="*/ 390736 w 12207875"/>
              <a:gd name="connsiteY657" fmla="*/ 473648 h 6858000"/>
              <a:gd name="connsiteX658" fmla="*/ 310273 w 12207875"/>
              <a:gd name="connsiteY658" fmla="*/ 393230 h 6858000"/>
              <a:gd name="connsiteX659" fmla="*/ 390736 w 12207875"/>
              <a:gd name="connsiteY659" fmla="*/ 312729 h 6858000"/>
              <a:gd name="connsiteX660" fmla="*/ 482647 w 12207875"/>
              <a:gd name="connsiteY660" fmla="*/ 312729 h 6858000"/>
              <a:gd name="connsiteX661" fmla="*/ 482647 w 12207875"/>
              <a:gd name="connsiteY661" fmla="*/ 272479 h 6858000"/>
              <a:gd name="connsiteX662" fmla="*/ 1505141 w 12207875"/>
              <a:gd name="connsiteY662" fmla="*/ 270000 h 6858000"/>
              <a:gd name="connsiteX663" fmla="*/ 1500983 w 12207875"/>
              <a:gd name="connsiteY663" fmla="*/ 271625 h 6858000"/>
              <a:gd name="connsiteX664" fmla="*/ 1499265 w 12207875"/>
              <a:gd name="connsiteY664" fmla="*/ 275538 h 6858000"/>
              <a:gd name="connsiteX665" fmla="*/ 1500983 w 12207875"/>
              <a:gd name="connsiteY665" fmla="*/ 279422 h 6858000"/>
              <a:gd name="connsiteX666" fmla="*/ 1505141 w 12207875"/>
              <a:gd name="connsiteY666" fmla="*/ 281075 h 6858000"/>
              <a:gd name="connsiteX667" fmla="*/ 1509299 w 12207875"/>
              <a:gd name="connsiteY667" fmla="*/ 279450 h 6858000"/>
              <a:gd name="connsiteX668" fmla="*/ 1511017 w 12207875"/>
              <a:gd name="connsiteY668" fmla="*/ 275565 h 6858000"/>
              <a:gd name="connsiteX669" fmla="*/ 1509299 w 12207875"/>
              <a:gd name="connsiteY669" fmla="*/ 271653 h 6858000"/>
              <a:gd name="connsiteX670" fmla="*/ 1505141 w 12207875"/>
              <a:gd name="connsiteY670" fmla="*/ 270000 h 6858000"/>
              <a:gd name="connsiteX671" fmla="*/ 1293907 w 12207875"/>
              <a:gd name="connsiteY671" fmla="*/ 270000 h 6858000"/>
              <a:gd name="connsiteX672" fmla="*/ 1289749 w 12207875"/>
              <a:gd name="connsiteY672" fmla="*/ 271625 h 6858000"/>
              <a:gd name="connsiteX673" fmla="*/ 1288031 w 12207875"/>
              <a:gd name="connsiteY673" fmla="*/ 275538 h 6858000"/>
              <a:gd name="connsiteX674" fmla="*/ 1289749 w 12207875"/>
              <a:gd name="connsiteY674" fmla="*/ 279422 h 6858000"/>
              <a:gd name="connsiteX675" fmla="*/ 1293907 w 12207875"/>
              <a:gd name="connsiteY675" fmla="*/ 281075 h 6858000"/>
              <a:gd name="connsiteX676" fmla="*/ 1298065 w 12207875"/>
              <a:gd name="connsiteY676" fmla="*/ 279450 h 6858000"/>
              <a:gd name="connsiteX677" fmla="*/ 1299783 w 12207875"/>
              <a:gd name="connsiteY677" fmla="*/ 275565 h 6858000"/>
              <a:gd name="connsiteX678" fmla="*/ 1298065 w 12207875"/>
              <a:gd name="connsiteY678" fmla="*/ 271653 h 6858000"/>
              <a:gd name="connsiteX679" fmla="*/ 1293907 w 12207875"/>
              <a:gd name="connsiteY679" fmla="*/ 270000 h 6858000"/>
              <a:gd name="connsiteX680" fmla="*/ 0 w 12207875"/>
              <a:gd name="connsiteY680" fmla="*/ 0 h 6858000"/>
              <a:gd name="connsiteX681" fmla="*/ 12207875 w 12207875"/>
              <a:gd name="connsiteY681" fmla="*/ 0 h 6858000"/>
              <a:gd name="connsiteX682" fmla="*/ 12207875 w 12207875"/>
              <a:gd name="connsiteY682" fmla="*/ 6858000 h 6858000"/>
              <a:gd name="connsiteX683" fmla="*/ 0 w 12207875"/>
              <a:gd name="connsiteY68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</a:cxnLst>
            <a:rect l="l" t="t" r="r" b="b"/>
            <a:pathLst>
              <a:path w="12207875" h="6858000">
                <a:moveTo>
                  <a:pt x="1370601" y="502108"/>
                </a:moveTo>
                <a:cubicBezTo>
                  <a:pt x="1368910" y="502108"/>
                  <a:pt x="1367441" y="502714"/>
                  <a:pt x="1366222" y="503926"/>
                </a:cubicBezTo>
                <a:cubicBezTo>
                  <a:pt x="1365002" y="505139"/>
                  <a:pt x="1364392" y="506599"/>
                  <a:pt x="1364392" y="508279"/>
                </a:cubicBezTo>
                <a:cubicBezTo>
                  <a:pt x="1364392" y="509987"/>
                  <a:pt x="1365002" y="511448"/>
                  <a:pt x="1366222" y="512660"/>
                </a:cubicBezTo>
                <a:cubicBezTo>
                  <a:pt x="1367441" y="513872"/>
                  <a:pt x="1368910" y="514478"/>
                  <a:pt x="1370601" y="514478"/>
                </a:cubicBezTo>
                <a:cubicBezTo>
                  <a:pt x="1371737" y="514478"/>
                  <a:pt x="1372791" y="514203"/>
                  <a:pt x="1373733" y="513652"/>
                </a:cubicBezTo>
                <a:cubicBezTo>
                  <a:pt x="1374675" y="513101"/>
                  <a:pt x="1375424" y="512357"/>
                  <a:pt x="1376006" y="511393"/>
                </a:cubicBezTo>
                <a:cubicBezTo>
                  <a:pt x="1376588" y="510456"/>
                  <a:pt x="1376865" y="509409"/>
                  <a:pt x="1376865" y="508279"/>
                </a:cubicBezTo>
                <a:cubicBezTo>
                  <a:pt x="1376865" y="506571"/>
                  <a:pt x="1376255" y="505139"/>
                  <a:pt x="1375036" y="503926"/>
                </a:cubicBezTo>
                <a:cubicBezTo>
                  <a:pt x="1373761" y="502714"/>
                  <a:pt x="1372292" y="502108"/>
                  <a:pt x="1370601" y="502108"/>
                </a:cubicBezTo>
                <a:close/>
                <a:moveTo>
                  <a:pt x="1329413" y="473511"/>
                </a:moveTo>
                <a:cubicBezTo>
                  <a:pt x="1332129" y="473511"/>
                  <a:pt x="1334429" y="474200"/>
                  <a:pt x="1336287" y="475577"/>
                </a:cubicBezTo>
                <a:cubicBezTo>
                  <a:pt x="1338144" y="476955"/>
                  <a:pt x="1339529" y="478883"/>
                  <a:pt x="1340499" y="481363"/>
                </a:cubicBezTo>
                <a:cubicBezTo>
                  <a:pt x="1341442" y="483842"/>
                  <a:pt x="1341941" y="486735"/>
                  <a:pt x="1341941" y="490041"/>
                </a:cubicBezTo>
                <a:cubicBezTo>
                  <a:pt x="1341913" y="493430"/>
                  <a:pt x="1341442" y="496350"/>
                  <a:pt x="1340472" y="498885"/>
                </a:cubicBezTo>
                <a:cubicBezTo>
                  <a:pt x="1339502" y="501392"/>
                  <a:pt x="1338088" y="503375"/>
                  <a:pt x="1336231" y="504780"/>
                </a:cubicBezTo>
                <a:cubicBezTo>
                  <a:pt x="1334374" y="506185"/>
                  <a:pt x="1332101" y="506901"/>
                  <a:pt x="1329413" y="506901"/>
                </a:cubicBezTo>
                <a:cubicBezTo>
                  <a:pt x="1326641" y="506901"/>
                  <a:pt x="1324313" y="506158"/>
                  <a:pt x="1322456" y="504697"/>
                </a:cubicBezTo>
                <a:cubicBezTo>
                  <a:pt x="1320571" y="503210"/>
                  <a:pt x="1319157" y="501199"/>
                  <a:pt x="1318215" y="498664"/>
                </a:cubicBezTo>
                <a:cubicBezTo>
                  <a:pt x="1317245" y="496130"/>
                  <a:pt x="1316774" y="493264"/>
                  <a:pt x="1316774" y="490069"/>
                </a:cubicBezTo>
                <a:cubicBezTo>
                  <a:pt x="1316774" y="486928"/>
                  <a:pt x="1317245" y="484118"/>
                  <a:pt x="1318187" y="481611"/>
                </a:cubicBezTo>
                <a:cubicBezTo>
                  <a:pt x="1319130" y="479104"/>
                  <a:pt x="1320543" y="477148"/>
                  <a:pt x="1322400" y="475688"/>
                </a:cubicBezTo>
                <a:cubicBezTo>
                  <a:pt x="1324257" y="474228"/>
                  <a:pt x="1326613" y="473511"/>
                  <a:pt x="1329413" y="473511"/>
                </a:cubicBezTo>
                <a:close/>
                <a:moveTo>
                  <a:pt x="1220844" y="473428"/>
                </a:moveTo>
                <a:cubicBezTo>
                  <a:pt x="1223754" y="473428"/>
                  <a:pt x="1226165" y="474200"/>
                  <a:pt x="1228078" y="475742"/>
                </a:cubicBezTo>
                <a:cubicBezTo>
                  <a:pt x="1229990" y="477285"/>
                  <a:pt x="1231404" y="479351"/>
                  <a:pt x="1232346" y="481886"/>
                </a:cubicBezTo>
                <a:cubicBezTo>
                  <a:pt x="1233261" y="484448"/>
                  <a:pt x="1233732" y="487231"/>
                  <a:pt x="1233732" y="490261"/>
                </a:cubicBezTo>
                <a:cubicBezTo>
                  <a:pt x="1233732" y="493319"/>
                  <a:pt x="1233261" y="496129"/>
                  <a:pt x="1232346" y="498664"/>
                </a:cubicBezTo>
                <a:cubicBezTo>
                  <a:pt x="1231404" y="501199"/>
                  <a:pt x="1229990" y="503237"/>
                  <a:pt x="1228078" y="504780"/>
                </a:cubicBezTo>
                <a:cubicBezTo>
                  <a:pt x="1226165" y="506323"/>
                  <a:pt x="1223754" y="507067"/>
                  <a:pt x="1220844" y="507067"/>
                </a:cubicBezTo>
                <a:cubicBezTo>
                  <a:pt x="1217905" y="507067"/>
                  <a:pt x="1215494" y="506295"/>
                  <a:pt x="1213554" y="504780"/>
                </a:cubicBezTo>
                <a:cubicBezTo>
                  <a:pt x="1211642" y="503265"/>
                  <a:pt x="1210200" y="501226"/>
                  <a:pt x="1209285" y="498664"/>
                </a:cubicBezTo>
                <a:cubicBezTo>
                  <a:pt x="1208343" y="496129"/>
                  <a:pt x="1207900" y="493319"/>
                  <a:pt x="1207900" y="490261"/>
                </a:cubicBezTo>
                <a:cubicBezTo>
                  <a:pt x="1207900" y="487231"/>
                  <a:pt x="1208371" y="484421"/>
                  <a:pt x="1209285" y="481886"/>
                </a:cubicBezTo>
                <a:cubicBezTo>
                  <a:pt x="1210200" y="479324"/>
                  <a:pt x="1211642" y="477285"/>
                  <a:pt x="1213554" y="475742"/>
                </a:cubicBezTo>
                <a:cubicBezTo>
                  <a:pt x="1215466" y="474200"/>
                  <a:pt x="1217905" y="473428"/>
                  <a:pt x="1220844" y="473428"/>
                </a:cubicBezTo>
                <a:close/>
                <a:moveTo>
                  <a:pt x="1125884" y="466265"/>
                </a:moveTo>
                <a:lnTo>
                  <a:pt x="1139964" y="513899"/>
                </a:lnTo>
                <a:lnTo>
                  <a:pt x="1149444" y="513899"/>
                </a:lnTo>
                <a:lnTo>
                  <a:pt x="1159172" y="479517"/>
                </a:lnTo>
                <a:lnTo>
                  <a:pt x="1159893" y="479517"/>
                </a:lnTo>
                <a:lnTo>
                  <a:pt x="1169622" y="513899"/>
                </a:lnTo>
                <a:lnTo>
                  <a:pt x="1179129" y="513899"/>
                </a:lnTo>
                <a:lnTo>
                  <a:pt x="1193209" y="466265"/>
                </a:lnTo>
                <a:lnTo>
                  <a:pt x="1183564" y="466265"/>
                </a:lnTo>
                <a:lnTo>
                  <a:pt x="1174251" y="501088"/>
                </a:lnTo>
                <a:lnTo>
                  <a:pt x="1173780" y="501088"/>
                </a:lnTo>
                <a:lnTo>
                  <a:pt x="1164411" y="466265"/>
                </a:lnTo>
                <a:lnTo>
                  <a:pt x="1154793" y="466265"/>
                </a:lnTo>
                <a:lnTo>
                  <a:pt x="1145369" y="501226"/>
                </a:lnTo>
                <a:lnTo>
                  <a:pt x="1144898" y="501226"/>
                </a:lnTo>
                <a:lnTo>
                  <a:pt x="1135502" y="466265"/>
                </a:lnTo>
                <a:close/>
                <a:moveTo>
                  <a:pt x="1220844" y="465659"/>
                </a:moveTo>
                <a:cubicBezTo>
                  <a:pt x="1216353" y="465659"/>
                  <a:pt x="1212445" y="466678"/>
                  <a:pt x="1209091" y="468717"/>
                </a:cubicBezTo>
                <a:cubicBezTo>
                  <a:pt x="1205738" y="470756"/>
                  <a:pt x="1203132" y="473649"/>
                  <a:pt x="1201303" y="477340"/>
                </a:cubicBezTo>
                <a:cubicBezTo>
                  <a:pt x="1199446" y="481032"/>
                  <a:pt x="1198531" y="485357"/>
                  <a:pt x="1198531" y="490289"/>
                </a:cubicBezTo>
                <a:cubicBezTo>
                  <a:pt x="1198531" y="495220"/>
                  <a:pt x="1199473" y="499518"/>
                  <a:pt x="1201303" y="503182"/>
                </a:cubicBezTo>
                <a:cubicBezTo>
                  <a:pt x="1203160" y="506874"/>
                  <a:pt x="1205738" y="509712"/>
                  <a:pt x="1209091" y="511778"/>
                </a:cubicBezTo>
                <a:cubicBezTo>
                  <a:pt x="1212445" y="513817"/>
                  <a:pt x="1216353" y="514836"/>
                  <a:pt x="1220844" y="514836"/>
                </a:cubicBezTo>
                <a:cubicBezTo>
                  <a:pt x="1225334" y="514836"/>
                  <a:pt x="1229242" y="513817"/>
                  <a:pt x="1232596" y="511778"/>
                </a:cubicBezTo>
                <a:cubicBezTo>
                  <a:pt x="1235950" y="509739"/>
                  <a:pt x="1238555" y="506874"/>
                  <a:pt x="1240384" y="503182"/>
                </a:cubicBezTo>
                <a:cubicBezTo>
                  <a:pt x="1242241" y="499518"/>
                  <a:pt x="1243156" y="495193"/>
                  <a:pt x="1243156" y="490289"/>
                </a:cubicBezTo>
                <a:cubicBezTo>
                  <a:pt x="1243156" y="485357"/>
                  <a:pt x="1242241" y="481032"/>
                  <a:pt x="1240384" y="477340"/>
                </a:cubicBezTo>
                <a:cubicBezTo>
                  <a:pt x="1238527" y="473649"/>
                  <a:pt x="1235922" y="470756"/>
                  <a:pt x="1232596" y="468717"/>
                </a:cubicBezTo>
                <a:cubicBezTo>
                  <a:pt x="1229242" y="466678"/>
                  <a:pt x="1225334" y="465659"/>
                  <a:pt x="1220844" y="465659"/>
                </a:cubicBezTo>
                <a:close/>
                <a:moveTo>
                  <a:pt x="1275309" y="465549"/>
                </a:moveTo>
                <a:cubicBezTo>
                  <a:pt x="1272509" y="465549"/>
                  <a:pt x="1269987" y="466293"/>
                  <a:pt x="1267770" y="467753"/>
                </a:cubicBezTo>
                <a:cubicBezTo>
                  <a:pt x="1265552" y="469241"/>
                  <a:pt x="1264000" y="471252"/>
                  <a:pt x="1263141" y="473814"/>
                </a:cubicBezTo>
                <a:lnTo>
                  <a:pt x="1262642" y="473814"/>
                </a:lnTo>
                <a:lnTo>
                  <a:pt x="1262642" y="466238"/>
                </a:lnTo>
                <a:lnTo>
                  <a:pt x="1253634" y="466238"/>
                </a:lnTo>
                <a:lnTo>
                  <a:pt x="1253634" y="513844"/>
                </a:lnTo>
                <a:lnTo>
                  <a:pt x="1262975" y="513844"/>
                </a:lnTo>
                <a:lnTo>
                  <a:pt x="1262975" y="484806"/>
                </a:lnTo>
                <a:cubicBezTo>
                  <a:pt x="1262975" y="482740"/>
                  <a:pt x="1263474" y="480894"/>
                  <a:pt x="1264471" y="479269"/>
                </a:cubicBezTo>
                <a:cubicBezTo>
                  <a:pt x="1265469" y="477643"/>
                  <a:pt x="1266827" y="476376"/>
                  <a:pt x="1268546" y="475467"/>
                </a:cubicBezTo>
                <a:cubicBezTo>
                  <a:pt x="1270264" y="474558"/>
                  <a:pt x="1272232" y="474090"/>
                  <a:pt x="1274422" y="474090"/>
                </a:cubicBezTo>
                <a:cubicBezTo>
                  <a:pt x="1275364" y="474090"/>
                  <a:pt x="1276334" y="474172"/>
                  <a:pt x="1277277" y="474282"/>
                </a:cubicBezTo>
                <a:cubicBezTo>
                  <a:pt x="1278247" y="474420"/>
                  <a:pt x="1278912" y="474530"/>
                  <a:pt x="1279272" y="474641"/>
                </a:cubicBezTo>
                <a:lnTo>
                  <a:pt x="1279272" y="465769"/>
                </a:lnTo>
                <a:cubicBezTo>
                  <a:pt x="1278801" y="465714"/>
                  <a:pt x="1278191" y="465659"/>
                  <a:pt x="1277388" y="465604"/>
                </a:cubicBezTo>
                <a:cubicBezTo>
                  <a:pt x="1276584" y="465577"/>
                  <a:pt x="1275891" y="465549"/>
                  <a:pt x="1275309" y="465549"/>
                </a:cubicBezTo>
                <a:close/>
                <a:moveTo>
                  <a:pt x="1341774" y="450397"/>
                </a:moveTo>
                <a:lnTo>
                  <a:pt x="1341774" y="473980"/>
                </a:lnTo>
                <a:lnTo>
                  <a:pt x="1341747" y="473980"/>
                </a:lnTo>
                <a:lnTo>
                  <a:pt x="1341192" y="473980"/>
                </a:lnTo>
                <a:cubicBezTo>
                  <a:pt x="1340638" y="472988"/>
                  <a:pt x="1339834" y="471831"/>
                  <a:pt x="1338836" y="470536"/>
                </a:cubicBezTo>
                <a:cubicBezTo>
                  <a:pt x="1337811" y="469241"/>
                  <a:pt x="1336397" y="468084"/>
                  <a:pt x="1334596" y="467120"/>
                </a:cubicBezTo>
                <a:cubicBezTo>
                  <a:pt x="1332766" y="466128"/>
                  <a:pt x="1330383" y="465660"/>
                  <a:pt x="1327417" y="465660"/>
                </a:cubicBezTo>
                <a:cubicBezTo>
                  <a:pt x="1323564" y="465660"/>
                  <a:pt x="1320127" y="466624"/>
                  <a:pt x="1317079" y="468580"/>
                </a:cubicBezTo>
                <a:cubicBezTo>
                  <a:pt x="1314030" y="470536"/>
                  <a:pt x="1311646" y="473318"/>
                  <a:pt x="1309927" y="476982"/>
                </a:cubicBezTo>
                <a:cubicBezTo>
                  <a:pt x="1308181" y="480647"/>
                  <a:pt x="1307322" y="485055"/>
                  <a:pt x="1307322" y="490179"/>
                </a:cubicBezTo>
                <a:cubicBezTo>
                  <a:pt x="1307322" y="495331"/>
                  <a:pt x="1308181" y="499739"/>
                  <a:pt x="1309900" y="503403"/>
                </a:cubicBezTo>
                <a:cubicBezTo>
                  <a:pt x="1311618" y="507067"/>
                  <a:pt x="1313974" y="509877"/>
                  <a:pt x="1317023" y="511860"/>
                </a:cubicBezTo>
                <a:cubicBezTo>
                  <a:pt x="1320044" y="513844"/>
                  <a:pt x="1323481" y="514808"/>
                  <a:pt x="1327362" y="514808"/>
                </a:cubicBezTo>
                <a:cubicBezTo>
                  <a:pt x="1330272" y="514808"/>
                  <a:pt x="1332628" y="514312"/>
                  <a:pt x="1334485" y="513348"/>
                </a:cubicBezTo>
                <a:cubicBezTo>
                  <a:pt x="1336314" y="512384"/>
                  <a:pt x="1337755" y="511227"/>
                  <a:pt x="1338809" y="509932"/>
                </a:cubicBezTo>
                <a:cubicBezTo>
                  <a:pt x="1339862" y="508637"/>
                  <a:pt x="1340666" y="507480"/>
                  <a:pt x="1341220" y="506461"/>
                </a:cubicBezTo>
                <a:lnTo>
                  <a:pt x="1341996" y="506461"/>
                </a:lnTo>
                <a:lnTo>
                  <a:pt x="1341996" y="513872"/>
                </a:lnTo>
                <a:lnTo>
                  <a:pt x="1351115" y="513872"/>
                </a:lnTo>
                <a:lnTo>
                  <a:pt x="1351115" y="450397"/>
                </a:lnTo>
                <a:close/>
                <a:moveTo>
                  <a:pt x="1287449" y="450397"/>
                </a:moveTo>
                <a:lnTo>
                  <a:pt x="1287449" y="513872"/>
                </a:lnTo>
                <a:lnTo>
                  <a:pt x="1296790" y="513872"/>
                </a:lnTo>
                <a:lnTo>
                  <a:pt x="1296790" y="450397"/>
                </a:lnTo>
                <a:close/>
                <a:moveTo>
                  <a:pt x="1297372" y="401633"/>
                </a:moveTo>
                <a:lnTo>
                  <a:pt x="1297372" y="407777"/>
                </a:lnTo>
                <a:lnTo>
                  <a:pt x="1297344" y="407777"/>
                </a:lnTo>
                <a:cubicBezTo>
                  <a:pt x="1297344" y="409650"/>
                  <a:pt x="1296845" y="411413"/>
                  <a:pt x="1295903" y="413066"/>
                </a:cubicBezTo>
                <a:cubicBezTo>
                  <a:pt x="1294932" y="414719"/>
                  <a:pt x="1293547" y="416042"/>
                  <a:pt x="1291689" y="417061"/>
                </a:cubicBezTo>
                <a:cubicBezTo>
                  <a:pt x="1289860" y="418080"/>
                  <a:pt x="1287643" y="418576"/>
                  <a:pt x="1285065" y="418576"/>
                </a:cubicBezTo>
                <a:cubicBezTo>
                  <a:pt x="1282432" y="418576"/>
                  <a:pt x="1280242" y="417998"/>
                  <a:pt x="1278552" y="416813"/>
                </a:cubicBezTo>
                <a:cubicBezTo>
                  <a:pt x="1276833" y="415656"/>
                  <a:pt x="1276002" y="413920"/>
                  <a:pt x="1276002" y="411634"/>
                </a:cubicBezTo>
                <a:cubicBezTo>
                  <a:pt x="1276002" y="409981"/>
                  <a:pt x="1276445" y="408658"/>
                  <a:pt x="1277332" y="407639"/>
                </a:cubicBezTo>
                <a:cubicBezTo>
                  <a:pt x="1278219" y="406647"/>
                  <a:pt x="1279411" y="405876"/>
                  <a:pt x="1280880" y="405325"/>
                </a:cubicBezTo>
                <a:cubicBezTo>
                  <a:pt x="1282377" y="404801"/>
                  <a:pt x="1284012" y="404416"/>
                  <a:pt x="1285814" y="404168"/>
                </a:cubicBezTo>
                <a:cubicBezTo>
                  <a:pt x="1286590" y="404057"/>
                  <a:pt x="1287532" y="403947"/>
                  <a:pt x="1288696" y="403782"/>
                </a:cubicBezTo>
                <a:cubicBezTo>
                  <a:pt x="1289832" y="403617"/>
                  <a:pt x="1291024" y="403451"/>
                  <a:pt x="1292216" y="403259"/>
                </a:cubicBezTo>
                <a:cubicBezTo>
                  <a:pt x="1293408" y="403066"/>
                  <a:pt x="1294489" y="402818"/>
                  <a:pt x="1295459" y="402542"/>
                </a:cubicBezTo>
                <a:cubicBezTo>
                  <a:pt x="1296402" y="402267"/>
                  <a:pt x="1297039" y="401964"/>
                  <a:pt x="1297372" y="401633"/>
                </a:cubicBezTo>
                <a:close/>
                <a:moveTo>
                  <a:pt x="1363312" y="384608"/>
                </a:moveTo>
                <a:cubicBezTo>
                  <a:pt x="1366111" y="384608"/>
                  <a:pt x="1368467" y="385324"/>
                  <a:pt x="1370352" y="386785"/>
                </a:cubicBezTo>
                <a:cubicBezTo>
                  <a:pt x="1372237" y="388245"/>
                  <a:pt x="1373650" y="390201"/>
                  <a:pt x="1374593" y="392708"/>
                </a:cubicBezTo>
                <a:cubicBezTo>
                  <a:pt x="1375535" y="395215"/>
                  <a:pt x="1376007" y="398025"/>
                  <a:pt x="1376007" y="401166"/>
                </a:cubicBezTo>
                <a:cubicBezTo>
                  <a:pt x="1376007" y="404334"/>
                  <a:pt x="1375535" y="407199"/>
                  <a:pt x="1374565" y="409734"/>
                </a:cubicBezTo>
                <a:cubicBezTo>
                  <a:pt x="1373595" y="412268"/>
                  <a:pt x="1372182" y="414279"/>
                  <a:pt x="1370297" y="415767"/>
                </a:cubicBezTo>
                <a:cubicBezTo>
                  <a:pt x="1368440" y="417255"/>
                  <a:pt x="1366084" y="417971"/>
                  <a:pt x="1363312" y="417971"/>
                </a:cubicBezTo>
                <a:cubicBezTo>
                  <a:pt x="1360623" y="417971"/>
                  <a:pt x="1358378" y="417255"/>
                  <a:pt x="1356521" y="415850"/>
                </a:cubicBezTo>
                <a:cubicBezTo>
                  <a:pt x="1354664" y="414445"/>
                  <a:pt x="1353250" y="412461"/>
                  <a:pt x="1352280" y="409954"/>
                </a:cubicBezTo>
                <a:cubicBezTo>
                  <a:pt x="1351310" y="407447"/>
                  <a:pt x="1350811" y="404499"/>
                  <a:pt x="1350811" y="401138"/>
                </a:cubicBezTo>
                <a:cubicBezTo>
                  <a:pt x="1350811" y="397832"/>
                  <a:pt x="1351282" y="394939"/>
                  <a:pt x="1352253" y="392460"/>
                </a:cubicBezTo>
                <a:cubicBezTo>
                  <a:pt x="1353195" y="389980"/>
                  <a:pt x="1354608" y="388052"/>
                  <a:pt x="1356466" y="386674"/>
                </a:cubicBezTo>
                <a:cubicBezTo>
                  <a:pt x="1358323" y="385297"/>
                  <a:pt x="1360596" y="384608"/>
                  <a:pt x="1363312" y="384608"/>
                </a:cubicBezTo>
                <a:close/>
                <a:moveTo>
                  <a:pt x="1181486" y="384497"/>
                </a:moveTo>
                <a:cubicBezTo>
                  <a:pt x="1184396" y="384497"/>
                  <a:pt x="1186807" y="385268"/>
                  <a:pt x="1188720" y="386811"/>
                </a:cubicBezTo>
                <a:cubicBezTo>
                  <a:pt x="1190632" y="388354"/>
                  <a:pt x="1192046" y="390420"/>
                  <a:pt x="1192988" y="392955"/>
                </a:cubicBezTo>
                <a:cubicBezTo>
                  <a:pt x="1193903" y="395517"/>
                  <a:pt x="1194374" y="398299"/>
                  <a:pt x="1194374" y="401330"/>
                </a:cubicBezTo>
                <a:cubicBezTo>
                  <a:pt x="1194374" y="404388"/>
                  <a:pt x="1193903" y="407198"/>
                  <a:pt x="1192988" y="409733"/>
                </a:cubicBezTo>
                <a:cubicBezTo>
                  <a:pt x="1192046" y="412267"/>
                  <a:pt x="1190632" y="414306"/>
                  <a:pt x="1188720" y="415849"/>
                </a:cubicBezTo>
                <a:cubicBezTo>
                  <a:pt x="1186807" y="417391"/>
                  <a:pt x="1184396" y="418135"/>
                  <a:pt x="1181486" y="418135"/>
                </a:cubicBezTo>
                <a:cubicBezTo>
                  <a:pt x="1178548" y="418135"/>
                  <a:pt x="1176136" y="417364"/>
                  <a:pt x="1174196" y="415849"/>
                </a:cubicBezTo>
                <a:cubicBezTo>
                  <a:pt x="1172284" y="414333"/>
                  <a:pt x="1170842" y="412295"/>
                  <a:pt x="1169927" y="409733"/>
                </a:cubicBezTo>
                <a:cubicBezTo>
                  <a:pt x="1168985" y="407198"/>
                  <a:pt x="1168542" y="404388"/>
                  <a:pt x="1168542" y="401330"/>
                </a:cubicBezTo>
                <a:cubicBezTo>
                  <a:pt x="1168542" y="398299"/>
                  <a:pt x="1169013" y="395489"/>
                  <a:pt x="1169927" y="392955"/>
                </a:cubicBezTo>
                <a:cubicBezTo>
                  <a:pt x="1170842" y="390393"/>
                  <a:pt x="1172284" y="388354"/>
                  <a:pt x="1174196" y="386811"/>
                </a:cubicBezTo>
                <a:cubicBezTo>
                  <a:pt x="1176108" y="385268"/>
                  <a:pt x="1178548" y="384497"/>
                  <a:pt x="1181486" y="384497"/>
                </a:cubicBezTo>
                <a:close/>
                <a:moveTo>
                  <a:pt x="1530004" y="384387"/>
                </a:moveTo>
                <a:cubicBezTo>
                  <a:pt x="1532415" y="384387"/>
                  <a:pt x="1534522" y="384938"/>
                  <a:pt x="1536324" y="386040"/>
                </a:cubicBezTo>
                <a:cubicBezTo>
                  <a:pt x="1538125" y="387142"/>
                  <a:pt x="1539511" y="388630"/>
                  <a:pt x="1540509" y="390531"/>
                </a:cubicBezTo>
                <a:cubicBezTo>
                  <a:pt x="1541507" y="392431"/>
                  <a:pt x="1542006" y="394580"/>
                  <a:pt x="1542006" y="397032"/>
                </a:cubicBezTo>
                <a:lnTo>
                  <a:pt x="1517198" y="397032"/>
                </a:lnTo>
                <a:lnTo>
                  <a:pt x="1517198" y="397005"/>
                </a:lnTo>
                <a:cubicBezTo>
                  <a:pt x="1517309" y="394966"/>
                  <a:pt x="1517753" y="393038"/>
                  <a:pt x="1518667" y="391247"/>
                </a:cubicBezTo>
                <a:cubicBezTo>
                  <a:pt x="1519721" y="389208"/>
                  <a:pt x="1521217" y="387555"/>
                  <a:pt x="1523158" y="386288"/>
                </a:cubicBezTo>
                <a:cubicBezTo>
                  <a:pt x="1525098" y="385021"/>
                  <a:pt x="1527371" y="384387"/>
                  <a:pt x="1530004" y="384387"/>
                </a:cubicBezTo>
                <a:close/>
                <a:moveTo>
                  <a:pt x="1415227" y="384387"/>
                </a:moveTo>
                <a:cubicBezTo>
                  <a:pt x="1417638" y="384387"/>
                  <a:pt x="1419745" y="384938"/>
                  <a:pt x="1421547" y="386040"/>
                </a:cubicBezTo>
                <a:cubicBezTo>
                  <a:pt x="1423348" y="387142"/>
                  <a:pt x="1424734" y="388630"/>
                  <a:pt x="1425732" y="390531"/>
                </a:cubicBezTo>
                <a:cubicBezTo>
                  <a:pt x="1426730" y="392431"/>
                  <a:pt x="1427229" y="394580"/>
                  <a:pt x="1427229" y="397032"/>
                </a:cubicBezTo>
                <a:lnTo>
                  <a:pt x="1402421" y="397032"/>
                </a:lnTo>
                <a:lnTo>
                  <a:pt x="1402421" y="397005"/>
                </a:lnTo>
                <a:cubicBezTo>
                  <a:pt x="1402532" y="394966"/>
                  <a:pt x="1402976" y="393038"/>
                  <a:pt x="1403890" y="391247"/>
                </a:cubicBezTo>
                <a:cubicBezTo>
                  <a:pt x="1404944" y="389208"/>
                  <a:pt x="1406440" y="387555"/>
                  <a:pt x="1408381" y="386288"/>
                </a:cubicBezTo>
                <a:cubicBezTo>
                  <a:pt x="1410321" y="385021"/>
                  <a:pt x="1412594" y="384387"/>
                  <a:pt x="1415227" y="384387"/>
                </a:cubicBezTo>
                <a:close/>
                <a:moveTo>
                  <a:pt x="1529948" y="376728"/>
                </a:moveTo>
                <a:cubicBezTo>
                  <a:pt x="1525514" y="376728"/>
                  <a:pt x="1521633" y="377775"/>
                  <a:pt x="1518307" y="379869"/>
                </a:cubicBezTo>
                <a:cubicBezTo>
                  <a:pt x="1514981" y="381963"/>
                  <a:pt x="1512403" y="384855"/>
                  <a:pt x="1510574" y="388574"/>
                </a:cubicBezTo>
                <a:cubicBezTo>
                  <a:pt x="1508744" y="392294"/>
                  <a:pt x="1507802" y="396592"/>
                  <a:pt x="1507802" y="401468"/>
                </a:cubicBezTo>
                <a:cubicBezTo>
                  <a:pt x="1507802" y="406399"/>
                  <a:pt x="1508717" y="410725"/>
                  <a:pt x="1510574" y="414389"/>
                </a:cubicBezTo>
                <a:cubicBezTo>
                  <a:pt x="1512403" y="418053"/>
                  <a:pt x="1515036" y="420891"/>
                  <a:pt x="1518418" y="422902"/>
                </a:cubicBezTo>
                <a:cubicBezTo>
                  <a:pt x="1521827" y="424913"/>
                  <a:pt x="1525874" y="425932"/>
                  <a:pt x="1530614" y="425932"/>
                </a:cubicBezTo>
                <a:cubicBezTo>
                  <a:pt x="1534106" y="425932"/>
                  <a:pt x="1537210" y="425409"/>
                  <a:pt x="1539955" y="424334"/>
                </a:cubicBezTo>
                <a:cubicBezTo>
                  <a:pt x="1542699" y="423260"/>
                  <a:pt x="1544971" y="421772"/>
                  <a:pt x="1546773" y="419844"/>
                </a:cubicBezTo>
                <a:cubicBezTo>
                  <a:pt x="1548602" y="417915"/>
                  <a:pt x="1549850" y="415656"/>
                  <a:pt x="1550570" y="413066"/>
                </a:cubicBezTo>
                <a:lnTo>
                  <a:pt x="1541756" y="411496"/>
                </a:lnTo>
                <a:cubicBezTo>
                  <a:pt x="1541202" y="412984"/>
                  <a:pt x="1540370" y="414224"/>
                  <a:pt x="1539317" y="415243"/>
                </a:cubicBezTo>
                <a:cubicBezTo>
                  <a:pt x="1538264" y="416262"/>
                  <a:pt x="1536989" y="417006"/>
                  <a:pt x="1535547" y="417530"/>
                </a:cubicBezTo>
                <a:cubicBezTo>
                  <a:pt x="1534078" y="418025"/>
                  <a:pt x="1532471" y="418301"/>
                  <a:pt x="1530725" y="418301"/>
                </a:cubicBezTo>
                <a:cubicBezTo>
                  <a:pt x="1528008" y="418301"/>
                  <a:pt x="1525625" y="417722"/>
                  <a:pt x="1523573" y="416538"/>
                </a:cubicBezTo>
                <a:cubicBezTo>
                  <a:pt x="1521550" y="415381"/>
                  <a:pt x="1519942" y="413673"/>
                  <a:pt x="1518834" y="411441"/>
                </a:cubicBezTo>
                <a:cubicBezTo>
                  <a:pt x="1517780" y="409375"/>
                  <a:pt x="1517281" y="406868"/>
                  <a:pt x="1517198" y="403975"/>
                </a:cubicBezTo>
                <a:lnTo>
                  <a:pt x="1551180" y="403975"/>
                </a:lnTo>
                <a:lnTo>
                  <a:pt x="1551180" y="400696"/>
                </a:lnTo>
                <a:cubicBezTo>
                  <a:pt x="1551180" y="396371"/>
                  <a:pt x="1550598" y="392707"/>
                  <a:pt x="1549434" y="389676"/>
                </a:cubicBezTo>
                <a:cubicBezTo>
                  <a:pt x="1548242" y="386618"/>
                  <a:pt x="1546662" y="384139"/>
                  <a:pt x="1544639" y="382238"/>
                </a:cubicBezTo>
                <a:cubicBezTo>
                  <a:pt x="1542615" y="380337"/>
                  <a:pt x="1540343" y="378932"/>
                  <a:pt x="1537820" y="378050"/>
                </a:cubicBezTo>
                <a:cubicBezTo>
                  <a:pt x="1535270" y="377169"/>
                  <a:pt x="1532665" y="376728"/>
                  <a:pt x="1529948" y="376728"/>
                </a:cubicBezTo>
                <a:close/>
                <a:moveTo>
                  <a:pt x="1415171" y="376728"/>
                </a:moveTo>
                <a:cubicBezTo>
                  <a:pt x="1410737" y="376728"/>
                  <a:pt x="1406856" y="377775"/>
                  <a:pt x="1403530" y="379869"/>
                </a:cubicBezTo>
                <a:cubicBezTo>
                  <a:pt x="1400204" y="381963"/>
                  <a:pt x="1397626" y="384855"/>
                  <a:pt x="1395797" y="388574"/>
                </a:cubicBezTo>
                <a:cubicBezTo>
                  <a:pt x="1393967" y="392294"/>
                  <a:pt x="1393025" y="396592"/>
                  <a:pt x="1393025" y="401468"/>
                </a:cubicBezTo>
                <a:cubicBezTo>
                  <a:pt x="1393025" y="406399"/>
                  <a:pt x="1393940" y="410725"/>
                  <a:pt x="1395797" y="414389"/>
                </a:cubicBezTo>
                <a:cubicBezTo>
                  <a:pt x="1397626" y="418053"/>
                  <a:pt x="1400259" y="420891"/>
                  <a:pt x="1403641" y="422902"/>
                </a:cubicBezTo>
                <a:cubicBezTo>
                  <a:pt x="1407050" y="424913"/>
                  <a:pt x="1411097" y="425932"/>
                  <a:pt x="1415837" y="425932"/>
                </a:cubicBezTo>
                <a:cubicBezTo>
                  <a:pt x="1419329" y="425932"/>
                  <a:pt x="1422434" y="425409"/>
                  <a:pt x="1425177" y="424334"/>
                </a:cubicBezTo>
                <a:cubicBezTo>
                  <a:pt x="1427922" y="423260"/>
                  <a:pt x="1430194" y="421772"/>
                  <a:pt x="1431996" y="419844"/>
                </a:cubicBezTo>
                <a:cubicBezTo>
                  <a:pt x="1433826" y="417915"/>
                  <a:pt x="1435073" y="415656"/>
                  <a:pt x="1435793" y="413066"/>
                </a:cubicBezTo>
                <a:lnTo>
                  <a:pt x="1426979" y="411496"/>
                </a:lnTo>
                <a:cubicBezTo>
                  <a:pt x="1426425" y="412984"/>
                  <a:pt x="1425593" y="414224"/>
                  <a:pt x="1424540" y="415243"/>
                </a:cubicBezTo>
                <a:cubicBezTo>
                  <a:pt x="1423487" y="416262"/>
                  <a:pt x="1422212" y="417006"/>
                  <a:pt x="1420771" y="417530"/>
                </a:cubicBezTo>
                <a:cubicBezTo>
                  <a:pt x="1419301" y="418025"/>
                  <a:pt x="1417694" y="418301"/>
                  <a:pt x="1415947" y="418301"/>
                </a:cubicBezTo>
                <a:cubicBezTo>
                  <a:pt x="1413231" y="418301"/>
                  <a:pt x="1410848" y="417722"/>
                  <a:pt x="1408796" y="416538"/>
                </a:cubicBezTo>
                <a:cubicBezTo>
                  <a:pt x="1406773" y="415381"/>
                  <a:pt x="1405165" y="413673"/>
                  <a:pt x="1404057" y="411441"/>
                </a:cubicBezTo>
                <a:cubicBezTo>
                  <a:pt x="1403003" y="409375"/>
                  <a:pt x="1402505" y="406868"/>
                  <a:pt x="1402421" y="403975"/>
                </a:cubicBezTo>
                <a:lnTo>
                  <a:pt x="1436403" y="403975"/>
                </a:lnTo>
                <a:lnTo>
                  <a:pt x="1436403" y="400696"/>
                </a:lnTo>
                <a:cubicBezTo>
                  <a:pt x="1436403" y="396371"/>
                  <a:pt x="1435821" y="392707"/>
                  <a:pt x="1434657" y="389676"/>
                </a:cubicBezTo>
                <a:cubicBezTo>
                  <a:pt x="1433465" y="386618"/>
                  <a:pt x="1431885" y="384139"/>
                  <a:pt x="1429862" y="382238"/>
                </a:cubicBezTo>
                <a:cubicBezTo>
                  <a:pt x="1427838" y="380337"/>
                  <a:pt x="1425566" y="378932"/>
                  <a:pt x="1423043" y="378050"/>
                </a:cubicBezTo>
                <a:cubicBezTo>
                  <a:pt x="1420493" y="377169"/>
                  <a:pt x="1417888" y="376728"/>
                  <a:pt x="1415171" y="376728"/>
                </a:cubicBezTo>
                <a:close/>
                <a:moveTo>
                  <a:pt x="1288086" y="376728"/>
                </a:moveTo>
                <a:cubicBezTo>
                  <a:pt x="1285204" y="376728"/>
                  <a:pt x="1282432" y="377141"/>
                  <a:pt x="1279827" y="377940"/>
                </a:cubicBezTo>
                <a:cubicBezTo>
                  <a:pt x="1277221" y="378767"/>
                  <a:pt x="1274893" y="380062"/>
                  <a:pt x="1272897" y="381852"/>
                </a:cubicBezTo>
                <a:cubicBezTo>
                  <a:pt x="1270902" y="383643"/>
                  <a:pt x="1269377" y="385985"/>
                  <a:pt x="1268324" y="388877"/>
                </a:cubicBezTo>
                <a:lnTo>
                  <a:pt x="1277083" y="390861"/>
                </a:lnTo>
                <a:cubicBezTo>
                  <a:pt x="1277776" y="389181"/>
                  <a:pt x="1279023" y="387665"/>
                  <a:pt x="1280824" y="386288"/>
                </a:cubicBezTo>
                <a:cubicBezTo>
                  <a:pt x="1282626" y="384910"/>
                  <a:pt x="1285093" y="384222"/>
                  <a:pt x="1288225" y="384222"/>
                </a:cubicBezTo>
                <a:cubicBezTo>
                  <a:pt x="1291246" y="384222"/>
                  <a:pt x="1293519" y="384965"/>
                  <a:pt x="1295043" y="386453"/>
                </a:cubicBezTo>
                <a:cubicBezTo>
                  <a:pt x="1296568" y="387941"/>
                  <a:pt x="1297344" y="390035"/>
                  <a:pt x="1297344" y="392762"/>
                </a:cubicBezTo>
                <a:lnTo>
                  <a:pt x="1297344" y="392982"/>
                </a:lnTo>
                <a:cubicBezTo>
                  <a:pt x="1297344" y="394084"/>
                  <a:pt x="1296956" y="394911"/>
                  <a:pt x="1296124" y="395407"/>
                </a:cubicBezTo>
                <a:cubicBezTo>
                  <a:pt x="1295321" y="395903"/>
                  <a:pt x="1294018" y="396261"/>
                  <a:pt x="1292216" y="396481"/>
                </a:cubicBezTo>
                <a:cubicBezTo>
                  <a:pt x="1290415" y="396702"/>
                  <a:pt x="1288086" y="396977"/>
                  <a:pt x="1285231" y="397308"/>
                </a:cubicBezTo>
                <a:cubicBezTo>
                  <a:pt x="1282959" y="397583"/>
                  <a:pt x="1280741" y="397969"/>
                  <a:pt x="1278552" y="398492"/>
                </a:cubicBezTo>
                <a:cubicBezTo>
                  <a:pt x="1276362" y="399016"/>
                  <a:pt x="1274394" y="399787"/>
                  <a:pt x="1272620" y="400779"/>
                </a:cubicBezTo>
                <a:cubicBezTo>
                  <a:pt x="1270846" y="401798"/>
                  <a:pt x="1269460" y="403176"/>
                  <a:pt x="1268407" y="404912"/>
                </a:cubicBezTo>
                <a:cubicBezTo>
                  <a:pt x="1267382" y="406647"/>
                  <a:pt x="1266855" y="408851"/>
                  <a:pt x="1266855" y="411551"/>
                </a:cubicBezTo>
                <a:cubicBezTo>
                  <a:pt x="1266855" y="414664"/>
                  <a:pt x="1267576" y="417309"/>
                  <a:pt x="1268989" y="419458"/>
                </a:cubicBezTo>
                <a:cubicBezTo>
                  <a:pt x="1270403" y="421607"/>
                  <a:pt x="1272343" y="423232"/>
                  <a:pt x="1274810" y="424362"/>
                </a:cubicBezTo>
                <a:cubicBezTo>
                  <a:pt x="1277277" y="425491"/>
                  <a:pt x="1279993" y="426042"/>
                  <a:pt x="1283042" y="426042"/>
                </a:cubicBezTo>
                <a:cubicBezTo>
                  <a:pt x="1285675" y="426042"/>
                  <a:pt x="1287948" y="425657"/>
                  <a:pt x="1289832" y="424885"/>
                </a:cubicBezTo>
                <a:cubicBezTo>
                  <a:pt x="1291717" y="424114"/>
                  <a:pt x="1293269" y="423150"/>
                  <a:pt x="1294489" y="421992"/>
                </a:cubicBezTo>
                <a:cubicBezTo>
                  <a:pt x="1295681" y="420835"/>
                  <a:pt x="1296595" y="419651"/>
                  <a:pt x="1297205" y="418466"/>
                </a:cubicBezTo>
                <a:lnTo>
                  <a:pt x="1297593" y="418466"/>
                </a:lnTo>
                <a:lnTo>
                  <a:pt x="1297593" y="424968"/>
                </a:lnTo>
                <a:lnTo>
                  <a:pt x="1306712" y="424968"/>
                </a:lnTo>
                <a:lnTo>
                  <a:pt x="1306712" y="393341"/>
                </a:lnTo>
                <a:cubicBezTo>
                  <a:pt x="1306712" y="389869"/>
                  <a:pt x="1306102" y="387032"/>
                  <a:pt x="1304883" y="384855"/>
                </a:cubicBezTo>
                <a:cubicBezTo>
                  <a:pt x="1303636" y="382679"/>
                  <a:pt x="1302111" y="380998"/>
                  <a:pt x="1300227" y="379814"/>
                </a:cubicBezTo>
                <a:cubicBezTo>
                  <a:pt x="1298342" y="378629"/>
                  <a:pt x="1296318" y="377830"/>
                  <a:pt x="1294184" y="377389"/>
                </a:cubicBezTo>
                <a:cubicBezTo>
                  <a:pt x="1292022" y="376948"/>
                  <a:pt x="1289999" y="376728"/>
                  <a:pt x="1288086" y="376728"/>
                </a:cubicBezTo>
                <a:close/>
                <a:moveTo>
                  <a:pt x="1181486" y="376728"/>
                </a:moveTo>
                <a:cubicBezTo>
                  <a:pt x="1176995" y="376728"/>
                  <a:pt x="1173087" y="377747"/>
                  <a:pt x="1169733" y="379786"/>
                </a:cubicBezTo>
                <a:cubicBezTo>
                  <a:pt x="1166380" y="381825"/>
                  <a:pt x="1163774" y="384717"/>
                  <a:pt x="1161945" y="388409"/>
                </a:cubicBezTo>
                <a:cubicBezTo>
                  <a:pt x="1160088" y="392101"/>
                  <a:pt x="1159173" y="396426"/>
                  <a:pt x="1159173" y="401357"/>
                </a:cubicBezTo>
                <a:cubicBezTo>
                  <a:pt x="1159173" y="406289"/>
                  <a:pt x="1160115" y="410587"/>
                  <a:pt x="1161945" y="414251"/>
                </a:cubicBezTo>
                <a:cubicBezTo>
                  <a:pt x="1163802" y="417942"/>
                  <a:pt x="1166380" y="420780"/>
                  <a:pt x="1169733" y="422846"/>
                </a:cubicBezTo>
                <a:cubicBezTo>
                  <a:pt x="1173087" y="424885"/>
                  <a:pt x="1176995" y="425904"/>
                  <a:pt x="1181486" y="425904"/>
                </a:cubicBezTo>
                <a:cubicBezTo>
                  <a:pt x="1185976" y="425904"/>
                  <a:pt x="1189884" y="424885"/>
                  <a:pt x="1193238" y="422846"/>
                </a:cubicBezTo>
                <a:cubicBezTo>
                  <a:pt x="1196592" y="420808"/>
                  <a:pt x="1199197" y="417942"/>
                  <a:pt x="1201026" y="414251"/>
                </a:cubicBezTo>
                <a:cubicBezTo>
                  <a:pt x="1202884" y="410587"/>
                  <a:pt x="1203798" y="406289"/>
                  <a:pt x="1203798" y="401357"/>
                </a:cubicBezTo>
                <a:cubicBezTo>
                  <a:pt x="1203798" y="396426"/>
                  <a:pt x="1202884" y="392101"/>
                  <a:pt x="1201026" y="388409"/>
                </a:cubicBezTo>
                <a:cubicBezTo>
                  <a:pt x="1199169" y="384717"/>
                  <a:pt x="1196564" y="381852"/>
                  <a:pt x="1193238" y="379786"/>
                </a:cubicBezTo>
                <a:cubicBezTo>
                  <a:pt x="1189884" y="377747"/>
                  <a:pt x="1185976" y="376728"/>
                  <a:pt x="1181486" y="376728"/>
                </a:cubicBezTo>
                <a:close/>
                <a:moveTo>
                  <a:pt x="1582528" y="376618"/>
                </a:moveTo>
                <a:cubicBezTo>
                  <a:pt x="1579728" y="376618"/>
                  <a:pt x="1577206" y="377362"/>
                  <a:pt x="1574989" y="378822"/>
                </a:cubicBezTo>
                <a:cubicBezTo>
                  <a:pt x="1572771" y="380310"/>
                  <a:pt x="1571219" y="382321"/>
                  <a:pt x="1570360" y="384883"/>
                </a:cubicBezTo>
                <a:lnTo>
                  <a:pt x="1569861" y="384883"/>
                </a:lnTo>
                <a:lnTo>
                  <a:pt x="1569861" y="377307"/>
                </a:lnTo>
                <a:lnTo>
                  <a:pt x="1560853" y="377307"/>
                </a:lnTo>
                <a:lnTo>
                  <a:pt x="1560853" y="424913"/>
                </a:lnTo>
                <a:lnTo>
                  <a:pt x="1570194" y="424913"/>
                </a:lnTo>
                <a:lnTo>
                  <a:pt x="1570194" y="395875"/>
                </a:lnTo>
                <a:cubicBezTo>
                  <a:pt x="1570194" y="393809"/>
                  <a:pt x="1570693" y="391963"/>
                  <a:pt x="1571690" y="390338"/>
                </a:cubicBezTo>
                <a:cubicBezTo>
                  <a:pt x="1572688" y="388712"/>
                  <a:pt x="1574046" y="387445"/>
                  <a:pt x="1575765" y="386536"/>
                </a:cubicBezTo>
                <a:cubicBezTo>
                  <a:pt x="1577483" y="385627"/>
                  <a:pt x="1579451" y="385159"/>
                  <a:pt x="1581641" y="385159"/>
                </a:cubicBezTo>
                <a:cubicBezTo>
                  <a:pt x="1582583" y="385159"/>
                  <a:pt x="1583553" y="385241"/>
                  <a:pt x="1584496" y="385351"/>
                </a:cubicBezTo>
                <a:cubicBezTo>
                  <a:pt x="1585466" y="385489"/>
                  <a:pt x="1586131" y="385599"/>
                  <a:pt x="1586491" y="385710"/>
                </a:cubicBezTo>
                <a:lnTo>
                  <a:pt x="1586491" y="376838"/>
                </a:lnTo>
                <a:cubicBezTo>
                  <a:pt x="1586020" y="376783"/>
                  <a:pt x="1585410" y="376728"/>
                  <a:pt x="1584607" y="376673"/>
                </a:cubicBezTo>
                <a:cubicBezTo>
                  <a:pt x="1583803" y="376646"/>
                  <a:pt x="1583110" y="376618"/>
                  <a:pt x="1582528" y="376618"/>
                </a:cubicBezTo>
                <a:close/>
                <a:moveTo>
                  <a:pt x="1235146" y="376618"/>
                </a:moveTo>
                <a:cubicBezTo>
                  <a:pt x="1232346" y="376618"/>
                  <a:pt x="1229824" y="377362"/>
                  <a:pt x="1227607" y="378822"/>
                </a:cubicBezTo>
                <a:cubicBezTo>
                  <a:pt x="1225389" y="380310"/>
                  <a:pt x="1223837" y="382321"/>
                  <a:pt x="1222978" y="384883"/>
                </a:cubicBezTo>
                <a:lnTo>
                  <a:pt x="1222479" y="384883"/>
                </a:lnTo>
                <a:lnTo>
                  <a:pt x="1222479" y="377334"/>
                </a:lnTo>
                <a:lnTo>
                  <a:pt x="1213471" y="377334"/>
                </a:lnTo>
                <a:lnTo>
                  <a:pt x="1213471" y="424941"/>
                </a:lnTo>
                <a:lnTo>
                  <a:pt x="1222812" y="424941"/>
                </a:lnTo>
                <a:lnTo>
                  <a:pt x="1222812" y="395876"/>
                </a:lnTo>
                <a:cubicBezTo>
                  <a:pt x="1222812" y="393809"/>
                  <a:pt x="1223311" y="391963"/>
                  <a:pt x="1224308" y="390338"/>
                </a:cubicBezTo>
                <a:cubicBezTo>
                  <a:pt x="1225306" y="388713"/>
                  <a:pt x="1226664" y="387445"/>
                  <a:pt x="1228383" y="386536"/>
                </a:cubicBezTo>
                <a:cubicBezTo>
                  <a:pt x="1230101" y="385627"/>
                  <a:pt x="1232069" y="385159"/>
                  <a:pt x="1234259" y="385159"/>
                </a:cubicBezTo>
                <a:cubicBezTo>
                  <a:pt x="1235201" y="385159"/>
                  <a:pt x="1236171" y="385241"/>
                  <a:pt x="1237114" y="385351"/>
                </a:cubicBezTo>
                <a:cubicBezTo>
                  <a:pt x="1238084" y="385489"/>
                  <a:pt x="1238749" y="385599"/>
                  <a:pt x="1239109" y="385710"/>
                </a:cubicBezTo>
                <a:lnTo>
                  <a:pt x="1239109" y="376838"/>
                </a:lnTo>
                <a:cubicBezTo>
                  <a:pt x="1238638" y="376783"/>
                  <a:pt x="1238028" y="376728"/>
                  <a:pt x="1237224" y="376673"/>
                </a:cubicBezTo>
                <a:cubicBezTo>
                  <a:pt x="1236421" y="376618"/>
                  <a:pt x="1235728" y="376618"/>
                  <a:pt x="1235146" y="376618"/>
                </a:cubicBezTo>
                <a:close/>
                <a:moveTo>
                  <a:pt x="1481194" y="365956"/>
                </a:moveTo>
                <a:lnTo>
                  <a:pt x="1481194" y="377362"/>
                </a:lnTo>
                <a:lnTo>
                  <a:pt x="1474181" y="377362"/>
                </a:lnTo>
                <a:lnTo>
                  <a:pt x="1474181" y="384800"/>
                </a:lnTo>
                <a:lnTo>
                  <a:pt x="1481194" y="384800"/>
                </a:lnTo>
                <a:lnTo>
                  <a:pt x="1481194" y="412929"/>
                </a:lnTo>
                <a:cubicBezTo>
                  <a:pt x="1481194" y="415794"/>
                  <a:pt x="1481859" y="418191"/>
                  <a:pt x="1483161" y="420092"/>
                </a:cubicBezTo>
                <a:cubicBezTo>
                  <a:pt x="1484464" y="421993"/>
                  <a:pt x="1486183" y="423398"/>
                  <a:pt x="1488317" y="424307"/>
                </a:cubicBezTo>
                <a:cubicBezTo>
                  <a:pt x="1490423" y="425216"/>
                  <a:pt x="1492724" y="425657"/>
                  <a:pt x="1495191" y="425602"/>
                </a:cubicBezTo>
                <a:cubicBezTo>
                  <a:pt x="1496688" y="425574"/>
                  <a:pt x="1497935" y="425464"/>
                  <a:pt x="1498933" y="425243"/>
                </a:cubicBezTo>
                <a:cubicBezTo>
                  <a:pt x="1499930" y="425023"/>
                  <a:pt x="1500707" y="424803"/>
                  <a:pt x="1501233" y="424610"/>
                </a:cubicBezTo>
                <a:lnTo>
                  <a:pt x="1499542" y="416951"/>
                </a:lnTo>
                <a:cubicBezTo>
                  <a:pt x="1499237" y="416979"/>
                  <a:pt x="1498822" y="417061"/>
                  <a:pt x="1498240" y="417171"/>
                </a:cubicBezTo>
                <a:cubicBezTo>
                  <a:pt x="1497685" y="417282"/>
                  <a:pt x="1497020" y="417337"/>
                  <a:pt x="1496272" y="417337"/>
                </a:cubicBezTo>
                <a:cubicBezTo>
                  <a:pt x="1495246" y="417337"/>
                  <a:pt x="1494304" y="417171"/>
                  <a:pt x="1493445" y="416868"/>
                </a:cubicBezTo>
                <a:cubicBezTo>
                  <a:pt x="1492585" y="416538"/>
                  <a:pt x="1491892" y="415932"/>
                  <a:pt x="1491338" y="415050"/>
                </a:cubicBezTo>
                <a:cubicBezTo>
                  <a:pt x="1490812" y="414141"/>
                  <a:pt x="1490534" y="412791"/>
                  <a:pt x="1490534" y="411000"/>
                </a:cubicBezTo>
                <a:lnTo>
                  <a:pt x="1490534" y="384800"/>
                </a:lnTo>
                <a:lnTo>
                  <a:pt x="1500346" y="384800"/>
                </a:lnTo>
                <a:lnTo>
                  <a:pt x="1500346" y="377362"/>
                </a:lnTo>
                <a:lnTo>
                  <a:pt x="1490534" y="377362"/>
                </a:lnTo>
                <a:lnTo>
                  <a:pt x="1490534" y="365956"/>
                </a:lnTo>
                <a:close/>
                <a:moveTo>
                  <a:pt x="1449264" y="365956"/>
                </a:moveTo>
                <a:lnTo>
                  <a:pt x="1449264" y="377362"/>
                </a:lnTo>
                <a:lnTo>
                  <a:pt x="1442251" y="377362"/>
                </a:lnTo>
                <a:lnTo>
                  <a:pt x="1442251" y="384800"/>
                </a:lnTo>
                <a:lnTo>
                  <a:pt x="1449264" y="384800"/>
                </a:lnTo>
                <a:lnTo>
                  <a:pt x="1449264" y="412929"/>
                </a:lnTo>
                <a:cubicBezTo>
                  <a:pt x="1449264" y="415794"/>
                  <a:pt x="1449929" y="418191"/>
                  <a:pt x="1451232" y="420092"/>
                </a:cubicBezTo>
                <a:cubicBezTo>
                  <a:pt x="1452534" y="421993"/>
                  <a:pt x="1454253" y="423398"/>
                  <a:pt x="1456387" y="424307"/>
                </a:cubicBezTo>
                <a:cubicBezTo>
                  <a:pt x="1458493" y="425216"/>
                  <a:pt x="1460794" y="425657"/>
                  <a:pt x="1463261" y="425602"/>
                </a:cubicBezTo>
                <a:cubicBezTo>
                  <a:pt x="1464758" y="425574"/>
                  <a:pt x="1466005" y="425464"/>
                  <a:pt x="1467003" y="425243"/>
                </a:cubicBezTo>
                <a:cubicBezTo>
                  <a:pt x="1468001" y="425023"/>
                  <a:pt x="1468777" y="424803"/>
                  <a:pt x="1469303" y="424610"/>
                </a:cubicBezTo>
                <a:lnTo>
                  <a:pt x="1467612" y="416951"/>
                </a:lnTo>
                <a:cubicBezTo>
                  <a:pt x="1467308" y="416979"/>
                  <a:pt x="1466864" y="417061"/>
                  <a:pt x="1466310" y="417171"/>
                </a:cubicBezTo>
                <a:cubicBezTo>
                  <a:pt x="1465755" y="417282"/>
                  <a:pt x="1465090" y="417337"/>
                  <a:pt x="1464342" y="417337"/>
                </a:cubicBezTo>
                <a:cubicBezTo>
                  <a:pt x="1463316" y="417337"/>
                  <a:pt x="1462374" y="417171"/>
                  <a:pt x="1461515" y="416868"/>
                </a:cubicBezTo>
                <a:cubicBezTo>
                  <a:pt x="1460655" y="416538"/>
                  <a:pt x="1459963" y="415932"/>
                  <a:pt x="1459408" y="415050"/>
                </a:cubicBezTo>
                <a:cubicBezTo>
                  <a:pt x="1458882" y="414141"/>
                  <a:pt x="1458604" y="412791"/>
                  <a:pt x="1458604" y="411000"/>
                </a:cubicBezTo>
                <a:lnTo>
                  <a:pt x="1458604" y="384800"/>
                </a:lnTo>
                <a:lnTo>
                  <a:pt x="1468416" y="384800"/>
                </a:lnTo>
                <a:lnTo>
                  <a:pt x="1468416" y="377362"/>
                </a:lnTo>
                <a:lnTo>
                  <a:pt x="1458604" y="377362"/>
                </a:lnTo>
                <a:lnTo>
                  <a:pt x="1458604" y="365956"/>
                </a:lnTo>
                <a:close/>
                <a:moveTo>
                  <a:pt x="1341692" y="361466"/>
                </a:moveTo>
                <a:lnTo>
                  <a:pt x="1341692" y="424941"/>
                </a:lnTo>
                <a:lnTo>
                  <a:pt x="1350783" y="424941"/>
                </a:lnTo>
                <a:lnTo>
                  <a:pt x="1350783" y="417530"/>
                </a:lnTo>
                <a:lnTo>
                  <a:pt x="1351560" y="417530"/>
                </a:lnTo>
                <a:cubicBezTo>
                  <a:pt x="1352114" y="418550"/>
                  <a:pt x="1352918" y="419707"/>
                  <a:pt x="1353971" y="421002"/>
                </a:cubicBezTo>
                <a:cubicBezTo>
                  <a:pt x="1354997" y="422297"/>
                  <a:pt x="1356466" y="423454"/>
                  <a:pt x="1358295" y="424418"/>
                </a:cubicBezTo>
                <a:cubicBezTo>
                  <a:pt x="1360124" y="425382"/>
                  <a:pt x="1362508" y="425878"/>
                  <a:pt x="1365418" y="425878"/>
                </a:cubicBezTo>
                <a:cubicBezTo>
                  <a:pt x="1369271" y="425878"/>
                  <a:pt x="1372736" y="424886"/>
                  <a:pt x="1375757" y="422930"/>
                </a:cubicBezTo>
                <a:cubicBezTo>
                  <a:pt x="1378778" y="420947"/>
                  <a:pt x="1381134" y="418136"/>
                  <a:pt x="1382881" y="414472"/>
                </a:cubicBezTo>
                <a:cubicBezTo>
                  <a:pt x="1384599" y="410808"/>
                  <a:pt x="1385458" y="406400"/>
                  <a:pt x="1385458" y="401248"/>
                </a:cubicBezTo>
                <a:cubicBezTo>
                  <a:pt x="1385458" y="396096"/>
                  <a:pt x="1384599" y="391688"/>
                  <a:pt x="1382853" y="388052"/>
                </a:cubicBezTo>
                <a:cubicBezTo>
                  <a:pt x="1381107" y="384388"/>
                  <a:pt x="1378723" y="381578"/>
                  <a:pt x="1375674" y="379621"/>
                </a:cubicBezTo>
                <a:cubicBezTo>
                  <a:pt x="1372653" y="377693"/>
                  <a:pt x="1369188" y="376701"/>
                  <a:pt x="1365335" y="376701"/>
                </a:cubicBezTo>
                <a:cubicBezTo>
                  <a:pt x="1362369" y="376701"/>
                  <a:pt x="1359958" y="377197"/>
                  <a:pt x="1358156" y="378161"/>
                </a:cubicBezTo>
                <a:cubicBezTo>
                  <a:pt x="1356327" y="379153"/>
                  <a:pt x="1354913" y="380283"/>
                  <a:pt x="1353916" y="381578"/>
                </a:cubicBezTo>
                <a:cubicBezTo>
                  <a:pt x="1352890" y="382872"/>
                  <a:pt x="1352114" y="384030"/>
                  <a:pt x="1351560" y="385021"/>
                </a:cubicBezTo>
                <a:lnTo>
                  <a:pt x="1351005" y="385021"/>
                </a:lnTo>
                <a:lnTo>
                  <a:pt x="1351005" y="361466"/>
                </a:lnTo>
                <a:close/>
                <a:moveTo>
                  <a:pt x="1146949" y="358490"/>
                </a:moveTo>
                <a:cubicBezTo>
                  <a:pt x="1144427" y="358490"/>
                  <a:pt x="1142071" y="358986"/>
                  <a:pt x="1139909" y="359978"/>
                </a:cubicBezTo>
                <a:cubicBezTo>
                  <a:pt x="1137747" y="360970"/>
                  <a:pt x="1136001" y="362430"/>
                  <a:pt x="1134698" y="364413"/>
                </a:cubicBezTo>
                <a:cubicBezTo>
                  <a:pt x="1133396" y="366397"/>
                  <a:pt x="1132730" y="368849"/>
                  <a:pt x="1132730" y="371824"/>
                </a:cubicBezTo>
                <a:lnTo>
                  <a:pt x="1132730" y="377334"/>
                </a:lnTo>
                <a:lnTo>
                  <a:pt x="1125302" y="377334"/>
                </a:lnTo>
                <a:lnTo>
                  <a:pt x="1125302" y="384773"/>
                </a:lnTo>
                <a:lnTo>
                  <a:pt x="1132730" y="384773"/>
                </a:lnTo>
                <a:lnTo>
                  <a:pt x="1132730" y="424968"/>
                </a:lnTo>
                <a:lnTo>
                  <a:pt x="1142043" y="424968"/>
                </a:lnTo>
                <a:lnTo>
                  <a:pt x="1142043" y="384773"/>
                </a:lnTo>
                <a:lnTo>
                  <a:pt x="1152382" y="384773"/>
                </a:lnTo>
                <a:lnTo>
                  <a:pt x="1152382" y="377334"/>
                </a:lnTo>
                <a:lnTo>
                  <a:pt x="1142043" y="377334"/>
                </a:lnTo>
                <a:lnTo>
                  <a:pt x="1142043" y="373064"/>
                </a:lnTo>
                <a:cubicBezTo>
                  <a:pt x="1142043" y="370943"/>
                  <a:pt x="1142542" y="369345"/>
                  <a:pt x="1143485" y="368215"/>
                </a:cubicBezTo>
                <a:cubicBezTo>
                  <a:pt x="1144455" y="367113"/>
                  <a:pt x="1146062" y="366535"/>
                  <a:pt x="1148335" y="366535"/>
                </a:cubicBezTo>
                <a:cubicBezTo>
                  <a:pt x="1149305" y="366535"/>
                  <a:pt x="1150137" y="366617"/>
                  <a:pt x="1150830" y="366810"/>
                </a:cubicBezTo>
                <a:cubicBezTo>
                  <a:pt x="1151523" y="366975"/>
                  <a:pt x="1152077" y="367141"/>
                  <a:pt x="1152520" y="367251"/>
                </a:cubicBezTo>
                <a:lnTo>
                  <a:pt x="1154710" y="359757"/>
                </a:lnTo>
                <a:cubicBezTo>
                  <a:pt x="1154072" y="359509"/>
                  <a:pt x="1153075" y="359234"/>
                  <a:pt x="1151744" y="358931"/>
                </a:cubicBezTo>
                <a:cubicBezTo>
                  <a:pt x="1150414" y="358628"/>
                  <a:pt x="1148806" y="358490"/>
                  <a:pt x="1146949" y="358490"/>
                </a:cubicBezTo>
                <a:close/>
                <a:moveTo>
                  <a:pt x="1594752" y="295704"/>
                </a:moveTo>
                <a:cubicBezTo>
                  <a:pt x="1597468" y="295704"/>
                  <a:pt x="1599769" y="296393"/>
                  <a:pt x="1601626" y="297770"/>
                </a:cubicBezTo>
                <a:cubicBezTo>
                  <a:pt x="1603483" y="299148"/>
                  <a:pt x="1604869" y="301049"/>
                  <a:pt x="1605839" y="303501"/>
                </a:cubicBezTo>
                <a:cubicBezTo>
                  <a:pt x="1606781" y="305952"/>
                  <a:pt x="1607280" y="308763"/>
                  <a:pt x="1607280" y="311958"/>
                </a:cubicBezTo>
                <a:cubicBezTo>
                  <a:pt x="1607252" y="315209"/>
                  <a:pt x="1606781" y="318019"/>
                  <a:pt x="1605811" y="320361"/>
                </a:cubicBezTo>
                <a:cubicBezTo>
                  <a:pt x="1604841" y="322703"/>
                  <a:pt x="1603427" y="324494"/>
                  <a:pt x="1601570" y="325761"/>
                </a:cubicBezTo>
                <a:cubicBezTo>
                  <a:pt x="1599713" y="327001"/>
                  <a:pt x="1597440" y="327634"/>
                  <a:pt x="1594752" y="327634"/>
                </a:cubicBezTo>
                <a:cubicBezTo>
                  <a:pt x="1591980" y="327634"/>
                  <a:pt x="1589652" y="326973"/>
                  <a:pt x="1587795" y="325651"/>
                </a:cubicBezTo>
                <a:cubicBezTo>
                  <a:pt x="1585938" y="324328"/>
                  <a:pt x="1584496" y="322482"/>
                  <a:pt x="1583554" y="320141"/>
                </a:cubicBezTo>
                <a:cubicBezTo>
                  <a:pt x="1582584" y="317771"/>
                  <a:pt x="1582112" y="315044"/>
                  <a:pt x="1582112" y="311931"/>
                </a:cubicBezTo>
                <a:cubicBezTo>
                  <a:pt x="1582112" y="308900"/>
                  <a:pt x="1582584" y="306145"/>
                  <a:pt x="1583526" y="303693"/>
                </a:cubicBezTo>
                <a:cubicBezTo>
                  <a:pt x="1584468" y="301241"/>
                  <a:pt x="1585882" y="299285"/>
                  <a:pt x="1587739" y="297853"/>
                </a:cubicBezTo>
                <a:cubicBezTo>
                  <a:pt x="1589596" y="296420"/>
                  <a:pt x="1591952" y="295704"/>
                  <a:pt x="1594752" y="295704"/>
                </a:cubicBezTo>
                <a:close/>
                <a:moveTo>
                  <a:pt x="1254992" y="295704"/>
                </a:moveTo>
                <a:cubicBezTo>
                  <a:pt x="1257708" y="295704"/>
                  <a:pt x="1260009" y="296393"/>
                  <a:pt x="1261866" y="297770"/>
                </a:cubicBezTo>
                <a:cubicBezTo>
                  <a:pt x="1263723" y="299148"/>
                  <a:pt x="1265109" y="301049"/>
                  <a:pt x="1266079" y="303501"/>
                </a:cubicBezTo>
                <a:cubicBezTo>
                  <a:pt x="1267021" y="305952"/>
                  <a:pt x="1267520" y="308763"/>
                  <a:pt x="1267520" y="311958"/>
                </a:cubicBezTo>
                <a:cubicBezTo>
                  <a:pt x="1267492" y="315209"/>
                  <a:pt x="1267021" y="318019"/>
                  <a:pt x="1266051" y="320361"/>
                </a:cubicBezTo>
                <a:cubicBezTo>
                  <a:pt x="1265081" y="322703"/>
                  <a:pt x="1263667" y="324494"/>
                  <a:pt x="1261810" y="325761"/>
                </a:cubicBezTo>
                <a:cubicBezTo>
                  <a:pt x="1259953" y="327001"/>
                  <a:pt x="1257680" y="327634"/>
                  <a:pt x="1254992" y="327634"/>
                </a:cubicBezTo>
                <a:cubicBezTo>
                  <a:pt x="1252220" y="327634"/>
                  <a:pt x="1249892" y="326973"/>
                  <a:pt x="1248035" y="325651"/>
                </a:cubicBezTo>
                <a:cubicBezTo>
                  <a:pt x="1246150" y="324328"/>
                  <a:pt x="1244736" y="322482"/>
                  <a:pt x="1243794" y="320141"/>
                </a:cubicBezTo>
                <a:cubicBezTo>
                  <a:pt x="1242824" y="317771"/>
                  <a:pt x="1242353" y="315044"/>
                  <a:pt x="1242353" y="311931"/>
                </a:cubicBezTo>
                <a:cubicBezTo>
                  <a:pt x="1242353" y="308900"/>
                  <a:pt x="1242824" y="306145"/>
                  <a:pt x="1243766" y="303693"/>
                </a:cubicBezTo>
                <a:cubicBezTo>
                  <a:pt x="1244709" y="301241"/>
                  <a:pt x="1246122" y="299285"/>
                  <a:pt x="1247979" y="297853"/>
                </a:cubicBezTo>
                <a:cubicBezTo>
                  <a:pt x="1249836" y="296420"/>
                  <a:pt x="1252192" y="295704"/>
                  <a:pt x="1254992" y="295704"/>
                </a:cubicBezTo>
                <a:close/>
                <a:moveTo>
                  <a:pt x="1435155" y="295456"/>
                </a:moveTo>
                <a:cubicBezTo>
                  <a:pt x="1437566" y="295456"/>
                  <a:pt x="1439673" y="296007"/>
                  <a:pt x="1441474" y="297109"/>
                </a:cubicBezTo>
                <a:cubicBezTo>
                  <a:pt x="1443276" y="298211"/>
                  <a:pt x="1444662" y="299699"/>
                  <a:pt x="1445660" y="301599"/>
                </a:cubicBezTo>
                <a:cubicBezTo>
                  <a:pt x="1446658" y="303500"/>
                  <a:pt x="1447156" y="305649"/>
                  <a:pt x="1447156" y="308101"/>
                </a:cubicBezTo>
                <a:lnTo>
                  <a:pt x="1422349" y="308101"/>
                </a:lnTo>
                <a:cubicBezTo>
                  <a:pt x="1422460" y="306035"/>
                  <a:pt x="1422904" y="304107"/>
                  <a:pt x="1423818" y="302316"/>
                </a:cubicBezTo>
                <a:cubicBezTo>
                  <a:pt x="1424872" y="300277"/>
                  <a:pt x="1426368" y="298624"/>
                  <a:pt x="1428309" y="297357"/>
                </a:cubicBezTo>
                <a:cubicBezTo>
                  <a:pt x="1430249" y="296089"/>
                  <a:pt x="1432522" y="295456"/>
                  <a:pt x="1435155" y="295456"/>
                </a:cubicBezTo>
                <a:close/>
                <a:moveTo>
                  <a:pt x="1383573" y="295456"/>
                </a:moveTo>
                <a:cubicBezTo>
                  <a:pt x="1385985" y="295456"/>
                  <a:pt x="1388091" y="296007"/>
                  <a:pt x="1389893" y="297109"/>
                </a:cubicBezTo>
                <a:cubicBezTo>
                  <a:pt x="1391694" y="298211"/>
                  <a:pt x="1393080" y="299699"/>
                  <a:pt x="1394078" y="301599"/>
                </a:cubicBezTo>
                <a:cubicBezTo>
                  <a:pt x="1395076" y="303500"/>
                  <a:pt x="1395575" y="305649"/>
                  <a:pt x="1395575" y="308101"/>
                </a:cubicBezTo>
                <a:lnTo>
                  <a:pt x="1370768" y="308101"/>
                </a:lnTo>
                <a:cubicBezTo>
                  <a:pt x="1370878" y="306035"/>
                  <a:pt x="1371322" y="304107"/>
                  <a:pt x="1372237" y="302316"/>
                </a:cubicBezTo>
                <a:cubicBezTo>
                  <a:pt x="1373290" y="300277"/>
                  <a:pt x="1374787" y="298624"/>
                  <a:pt x="1376727" y="297357"/>
                </a:cubicBezTo>
                <a:cubicBezTo>
                  <a:pt x="1378667" y="296089"/>
                  <a:pt x="1380940" y="295456"/>
                  <a:pt x="1383573" y="295456"/>
                </a:cubicBezTo>
                <a:close/>
                <a:moveTo>
                  <a:pt x="1500429" y="288403"/>
                </a:moveTo>
                <a:lnTo>
                  <a:pt x="1500429" y="336009"/>
                </a:lnTo>
                <a:lnTo>
                  <a:pt x="1509770" y="336009"/>
                </a:lnTo>
                <a:lnTo>
                  <a:pt x="1509770" y="288403"/>
                </a:lnTo>
                <a:close/>
                <a:moveTo>
                  <a:pt x="1289195" y="288403"/>
                </a:moveTo>
                <a:lnTo>
                  <a:pt x="1289195" y="336009"/>
                </a:lnTo>
                <a:lnTo>
                  <a:pt x="1298536" y="336009"/>
                </a:lnTo>
                <a:lnTo>
                  <a:pt x="1298536" y="288403"/>
                </a:lnTo>
                <a:close/>
                <a:moveTo>
                  <a:pt x="1435099" y="287852"/>
                </a:moveTo>
                <a:cubicBezTo>
                  <a:pt x="1430665" y="287852"/>
                  <a:pt x="1426784" y="288899"/>
                  <a:pt x="1423458" y="290993"/>
                </a:cubicBezTo>
                <a:cubicBezTo>
                  <a:pt x="1420132" y="293087"/>
                  <a:pt x="1417554" y="295979"/>
                  <a:pt x="1415725" y="299699"/>
                </a:cubicBezTo>
                <a:cubicBezTo>
                  <a:pt x="1413895" y="303418"/>
                  <a:pt x="1412953" y="307716"/>
                  <a:pt x="1412953" y="312592"/>
                </a:cubicBezTo>
                <a:cubicBezTo>
                  <a:pt x="1412953" y="317523"/>
                  <a:pt x="1413868" y="321849"/>
                  <a:pt x="1415725" y="325513"/>
                </a:cubicBezTo>
                <a:cubicBezTo>
                  <a:pt x="1417554" y="329122"/>
                  <a:pt x="1420187" y="331960"/>
                  <a:pt x="1423569" y="333971"/>
                </a:cubicBezTo>
                <a:cubicBezTo>
                  <a:pt x="1426978" y="335982"/>
                  <a:pt x="1431025" y="337001"/>
                  <a:pt x="1435765" y="337001"/>
                </a:cubicBezTo>
                <a:cubicBezTo>
                  <a:pt x="1439257" y="337001"/>
                  <a:pt x="1442361" y="336478"/>
                  <a:pt x="1445105" y="335403"/>
                </a:cubicBezTo>
                <a:cubicBezTo>
                  <a:pt x="1447849" y="334329"/>
                  <a:pt x="1450122" y="332841"/>
                  <a:pt x="1451924" y="330913"/>
                </a:cubicBezTo>
                <a:cubicBezTo>
                  <a:pt x="1453753" y="328984"/>
                  <a:pt x="1455000" y="326725"/>
                  <a:pt x="1455721" y="324135"/>
                </a:cubicBezTo>
                <a:lnTo>
                  <a:pt x="1446907" y="322565"/>
                </a:lnTo>
                <a:cubicBezTo>
                  <a:pt x="1446353" y="324053"/>
                  <a:pt x="1445521" y="325292"/>
                  <a:pt x="1444468" y="326312"/>
                </a:cubicBezTo>
                <a:cubicBezTo>
                  <a:pt x="1443415" y="327331"/>
                  <a:pt x="1442140" y="328075"/>
                  <a:pt x="1440698" y="328598"/>
                </a:cubicBezTo>
                <a:cubicBezTo>
                  <a:pt x="1439229" y="329094"/>
                  <a:pt x="1437622" y="329370"/>
                  <a:pt x="1435875" y="329370"/>
                </a:cubicBezTo>
                <a:cubicBezTo>
                  <a:pt x="1433159" y="329370"/>
                  <a:pt x="1430775" y="328791"/>
                  <a:pt x="1428724" y="327607"/>
                </a:cubicBezTo>
                <a:cubicBezTo>
                  <a:pt x="1426701" y="326450"/>
                  <a:pt x="1425093" y="324741"/>
                  <a:pt x="1423985" y="322510"/>
                </a:cubicBezTo>
                <a:cubicBezTo>
                  <a:pt x="1422931" y="320444"/>
                  <a:pt x="1422432" y="317937"/>
                  <a:pt x="1422349" y="315044"/>
                </a:cubicBezTo>
                <a:lnTo>
                  <a:pt x="1456303" y="315044"/>
                </a:lnTo>
                <a:lnTo>
                  <a:pt x="1456303" y="311765"/>
                </a:lnTo>
                <a:cubicBezTo>
                  <a:pt x="1456303" y="307440"/>
                  <a:pt x="1455721" y="303776"/>
                  <a:pt x="1454557" y="300745"/>
                </a:cubicBezTo>
                <a:cubicBezTo>
                  <a:pt x="1453393" y="297715"/>
                  <a:pt x="1451813" y="295263"/>
                  <a:pt x="1449789" y="293362"/>
                </a:cubicBezTo>
                <a:cubicBezTo>
                  <a:pt x="1447766" y="291461"/>
                  <a:pt x="1445493" y="290056"/>
                  <a:pt x="1442971" y="289174"/>
                </a:cubicBezTo>
                <a:cubicBezTo>
                  <a:pt x="1440421" y="288293"/>
                  <a:pt x="1437816" y="287852"/>
                  <a:pt x="1435099" y="287852"/>
                </a:cubicBezTo>
                <a:close/>
                <a:moveTo>
                  <a:pt x="1383545" y="287852"/>
                </a:moveTo>
                <a:cubicBezTo>
                  <a:pt x="1379110" y="287852"/>
                  <a:pt x="1375230" y="288899"/>
                  <a:pt x="1371904" y="290993"/>
                </a:cubicBezTo>
                <a:cubicBezTo>
                  <a:pt x="1368578" y="293087"/>
                  <a:pt x="1366000" y="295979"/>
                  <a:pt x="1364171" y="299699"/>
                </a:cubicBezTo>
                <a:cubicBezTo>
                  <a:pt x="1362341" y="303418"/>
                  <a:pt x="1361399" y="307716"/>
                  <a:pt x="1361399" y="312592"/>
                </a:cubicBezTo>
                <a:cubicBezTo>
                  <a:pt x="1361399" y="317523"/>
                  <a:pt x="1362314" y="321849"/>
                  <a:pt x="1364171" y="325513"/>
                </a:cubicBezTo>
                <a:cubicBezTo>
                  <a:pt x="1365972" y="329122"/>
                  <a:pt x="1368606" y="331960"/>
                  <a:pt x="1371987" y="333971"/>
                </a:cubicBezTo>
                <a:cubicBezTo>
                  <a:pt x="1375396" y="335982"/>
                  <a:pt x="1379443" y="337001"/>
                  <a:pt x="1384183" y="337001"/>
                </a:cubicBezTo>
                <a:cubicBezTo>
                  <a:pt x="1387675" y="337001"/>
                  <a:pt x="1390780" y="336478"/>
                  <a:pt x="1393524" y="335403"/>
                </a:cubicBezTo>
                <a:cubicBezTo>
                  <a:pt x="1396268" y="334329"/>
                  <a:pt x="1398540" y="332841"/>
                  <a:pt x="1400342" y="330913"/>
                </a:cubicBezTo>
                <a:cubicBezTo>
                  <a:pt x="1402171" y="328984"/>
                  <a:pt x="1403419" y="326725"/>
                  <a:pt x="1404139" y="324135"/>
                </a:cubicBezTo>
                <a:lnTo>
                  <a:pt x="1395325" y="322565"/>
                </a:lnTo>
                <a:cubicBezTo>
                  <a:pt x="1394771" y="324053"/>
                  <a:pt x="1393939" y="325292"/>
                  <a:pt x="1392886" y="326312"/>
                </a:cubicBezTo>
                <a:cubicBezTo>
                  <a:pt x="1391833" y="327331"/>
                  <a:pt x="1390558" y="328075"/>
                  <a:pt x="1389116" y="328598"/>
                </a:cubicBezTo>
                <a:cubicBezTo>
                  <a:pt x="1387648" y="329094"/>
                  <a:pt x="1386040" y="329370"/>
                  <a:pt x="1384294" y="329370"/>
                </a:cubicBezTo>
                <a:cubicBezTo>
                  <a:pt x="1381577" y="329370"/>
                  <a:pt x="1379194" y="328791"/>
                  <a:pt x="1377143" y="327607"/>
                </a:cubicBezTo>
                <a:cubicBezTo>
                  <a:pt x="1375119" y="326450"/>
                  <a:pt x="1373512" y="324741"/>
                  <a:pt x="1372403" y="322510"/>
                </a:cubicBezTo>
                <a:cubicBezTo>
                  <a:pt x="1371350" y="320444"/>
                  <a:pt x="1370851" y="317937"/>
                  <a:pt x="1370768" y="315044"/>
                </a:cubicBezTo>
                <a:lnTo>
                  <a:pt x="1404749" y="315044"/>
                </a:lnTo>
                <a:lnTo>
                  <a:pt x="1404749" y="311765"/>
                </a:lnTo>
                <a:cubicBezTo>
                  <a:pt x="1404749" y="307440"/>
                  <a:pt x="1404167" y="303776"/>
                  <a:pt x="1403003" y="300745"/>
                </a:cubicBezTo>
                <a:cubicBezTo>
                  <a:pt x="1401839" y="297715"/>
                  <a:pt x="1400259" y="295263"/>
                  <a:pt x="1398235" y="293362"/>
                </a:cubicBezTo>
                <a:cubicBezTo>
                  <a:pt x="1396212" y="291461"/>
                  <a:pt x="1393939" y="290056"/>
                  <a:pt x="1391417" y="289174"/>
                </a:cubicBezTo>
                <a:cubicBezTo>
                  <a:pt x="1388867" y="288293"/>
                  <a:pt x="1386262" y="287852"/>
                  <a:pt x="1383545" y="287852"/>
                </a:cubicBezTo>
                <a:close/>
                <a:moveTo>
                  <a:pt x="1592728" y="287797"/>
                </a:moveTo>
                <a:cubicBezTo>
                  <a:pt x="1588876" y="287797"/>
                  <a:pt x="1585439" y="288761"/>
                  <a:pt x="1582390" y="290690"/>
                </a:cubicBezTo>
                <a:cubicBezTo>
                  <a:pt x="1579341" y="292618"/>
                  <a:pt x="1576957" y="295401"/>
                  <a:pt x="1575239" y="299010"/>
                </a:cubicBezTo>
                <a:cubicBezTo>
                  <a:pt x="1573492" y="302619"/>
                  <a:pt x="1572633" y="306972"/>
                  <a:pt x="1572633" y="312041"/>
                </a:cubicBezTo>
                <a:cubicBezTo>
                  <a:pt x="1572633" y="317110"/>
                  <a:pt x="1573520" y="321380"/>
                  <a:pt x="1575266" y="324824"/>
                </a:cubicBezTo>
                <a:cubicBezTo>
                  <a:pt x="1577012" y="328295"/>
                  <a:pt x="1579424" y="330913"/>
                  <a:pt x="1582445" y="332676"/>
                </a:cubicBezTo>
                <a:cubicBezTo>
                  <a:pt x="1585466" y="334439"/>
                  <a:pt x="1588876" y="335321"/>
                  <a:pt x="1592645" y="335321"/>
                </a:cubicBezTo>
                <a:cubicBezTo>
                  <a:pt x="1595583" y="335321"/>
                  <a:pt x="1597967" y="334852"/>
                  <a:pt x="1599796" y="333943"/>
                </a:cubicBezTo>
                <a:cubicBezTo>
                  <a:pt x="1601626" y="333034"/>
                  <a:pt x="1603067" y="331960"/>
                  <a:pt x="1604120" y="330720"/>
                </a:cubicBezTo>
                <a:cubicBezTo>
                  <a:pt x="1605173" y="329480"/>
                  <a:pt x="1605977" y="328351"/>
                  <a:pt x="1606532" y="327331"/>
                </a:cubicBezTo>
                <a:lnTo>
                  <a:pt x="1607114" y="327331"/>
                </a:lnTo>
                <a:lnTo>
                  <a:pt x="1607114" y="336698"/>
                </a:lnTo>
                <a:cubicBezTo>
                  <a:pt x="1607114" y="340390"/>
                  <a:pt x="1605950" y="343062"/>
                  <a:pt x="1603649" y="344770"/>
                </a:cubicBezTo>
                <a:cubicBezTo>
                  <a:pt x="1601349" y="346478"/>
                  <a:pt x="1598410" y="347305"/>
                  <a:pt x="1594890" y="347305"/>
                </a:cubicBezTo>
                <a:cubicBezTo>
                  <a:pt x="1592313" y="347305"/>
                  <a:pt x="1590206" y="346947"/>
                  <a:pt x="1588571" y="346231"/>
                </a:cubicBezTo>
                <a:cubicBezTo>
                  <a:pt x="1586935" y="345514"/>
                  <a:pt x="1585660" y="344633"/>
                  <a:pt x="1584718" y="343613"/>
                </a:cubicBezTo>
                <a:cubicBezTo>
                  <a:pt x="1583776" y="342594"/>
                  <a:pt x="1583027" y="341657"/>
                  <a:pt x="1582445" y="340803"/>
                </a:cubicBezTo>
                <a:lnTo>
                  <a:pt x="1574435" y="344082"/>
                </a:lnTo>
                <a:cubicBezTo>
                  <a:pt x="1575266" y="345983"/>
                  <a:pt x="1576569" y="347746"/>
                  <a:pt x="1578287" y="349371"/>
                </a:cubicBezTo>
                <a:cubicBezTo>
                  <a:pt x="1580006" y="350997"/>
                  <a:pt x="1582251" y="352292"/>
                  <a:pt x="1584967" y="353283"/>
                </a:cubicBezTo>
                <a:cubicBezTo>
                  <a:pt x="1587712" y="354275"/>
                  <a:pt x="1590982" y="354771"/>
                  <a:pt x="1594779" y="354771"/>
                </a:cubicBezTo>
                <a:cubicBezTo>
                  <a:pt x="1598854" y="354771"/>
                  <a:pt x="1602513" y="354137"/>
                  <a:pt x="1605756" y="352870"/>
                </a:cubicBezTo>
                <a:cubicBezTo>
                  <a:pt x="1608999" y="351603"/>
                  <a:pt x="1611604" y="349674"/>
                  <a:pt x="1613517" y="347057"/>
                </a:cubicBezTo>
                <a:cubicBezTo>
                  <a:pt x="1615429" y="344440"/>
                  <a:pt x="1616399" y="341106"/>
                  <a:pt x="1616399" y="337056"/>
                </a:cubicBezTo>
                <a:lnTo>
                  <a:pt x="1616399" y="288403"/>
                </a:lnTo>
                <a:lnTo>
                  <a:pt x="1607308" y="288403"/>
                </a:lnTo>
                <a:lnTo>
                  <a:pt x="1607308" y="296117"/>
                </a:lnTo>
                <a:lnTo>
                  <a:pt x="1606615" y="296117"/>
                </a:lnTo>
                <a:cubicBezTo>
                  <a:pt x="1606061" y="295125"/>
                  <a:pt x="1605257" y="293968"/>
                  <a:pt x="1604231" y="292673"/>
                </a:cubicBezTo>
                <a:cubicBezTo>
                  <a:pt x="1603206" y="291379"/>
                  <a:pt x="1601764" y="290221"/>
                  <a:pt x="1599935" y="289257"/>
                </a:cubicBezTo>
                <a:cubicBezTo>
                  <a:pt x="1598106" y="288265"/>
                  <a:pt x="1595694" y="287797"/>
                  <a:pt x="1592728" y="287797"/>
                </a:cubicBezTo>
                <a:close/>
                <a:moveTo>
                  <a:pt x="1252996" y="287797"/>
                </a:moveTo>
                <a:cubicBezTo>
                  <a:pt x="1249143" y="287797"/>
                  <a:pt x="1245706" y="288761"/>
                  <a:pt x="1242658" y="290690"/>
                </a:cubicBezTo>
                <a:cubicBezTo>
                  <a:pt x="1239609" y="292618"/>
                  <a:pt x="1237225" y="295401"/>
                  <a:pt x="1235506" y="299010"/>
                </a:cubicBezTo>
                <a:cubicBezTo>
                  <a:pt x="1233760" y="302619"/>
                  <a:pt x="1232901" y="306972"/>
                  <a:pt x="1232901" y="312041"/>
                </a:cubicBezTo>
                <a:cubicBezTo>
                  <a:pt x="1232901" y="317110"/>
                  <a:pt x="1233788" y="321380"/>
                  <a:pt x="1235534" y="324824"/>
                </a:cubicBezTo>
                <a:cubicBezTo>
                  <a:pt x="1237280" y="328295"/>
                  <a:pt x="1239692" y="330913"/>
                  <a:pt x="1242713" y="332676"/>
                </a:cubicBezTo>
                <a:cubicBezTo>
                  <a:pt x="1245734" y="334439"/>
                  <a:pt x="1249143" y="335321"/>
                  <a:pt x="1252913" y="335321"/>
                </a:cubicBezTo>
                <a:cubicBezTo>
                  <a:pt x="1255851" y="335321"/>
                  <a:pt x="1258235" y="334852"/>
                  <a:pt x="1260064" y="333943"/>
                </a:cubicBezTo>
                <a:cubicBezTo>
                  <a:pt x="1261893" y="333034"/>
                  <a:pt x="1263335" y="331960"/>
                  <a:pt x="1264388" y="330720"/>
                </a:cubicBezTo>
                <a:cubicBezTo>
                  <a:pt x="1265441" y="329480"/>
                  <a:pt x="1266245" y="328351"/>
                  <a:pt x="1266799" y="327331"/>
                </a:cubicBezTo>
                <a:lnTo>
                  <a:pt x="1267381" y="327331"/>
                </a:lnTo>
                <a:lnTo>
                  <a:pt x="1267381" y="336698"/>
                </a:lnTo>
                <a:cubicBezTo>
                  <a:pt x="1267381" y="340390"/>
                  <a:pt x="1266217" y="343062"/>
                  <a:pt x="1263917" y="344770"/>
                </a:cubicBezTo>
                <a:cubicBezTo>
                  <a:pt x="1261616" y="346478"/>
                  <a:pt x="1258678" y="347305"/>
                  <a:pt x="1255158" y="347305"/>
                </a:cubicBezTo>
                <a:cubicBezTo>
                  <a:pt x="1252580" y="347305"/>
                  <a:pt x="1250474" y="346947"/>
                  <a:pt x="1248839" y="346231"/>
                </a:cubicBezTo>
                <a:cubicBezTo>
                  <a:pt x="1247203" y="345514"/>
                  <a:pt x="1245928" y="344633"/>
                  <a:pt x="1244986" y="343613"/>
                </a:cubicBezTo>
                <a:cubicBezTo>
                  <a:pt x="1244043" y="342594"/>
                  <a:pt x="1243295" y="341657"/>
                  <a:pt x="1242713" y="340803"/>
                </a:cubicBezTo>
                <a:lnTo>
                  <a:pt x="1234703" y="344082"/>
                </a:lnTo>
                <a:cubicBezTo>
                  <a:pt x="1235534" y="345983"/>
                  <a:pt x="1236837" y="347746"/>
                  <a:pt x="1238555" y="349371"/>
                </a:cubicBezTo>
                <a:cubicBezTo>
                  <a:pt x="1240274" y="350997"/>
                  <a:pt x="1242519" y="352292"/>
                  <a:pt x="1245235" y="353283"/>
                </a:cubicBezTo>
                <a:cubicBezTo>
                  <a:pt x="1247979" y="354275"/>
                  <a:pt x="1251250" y="354771"/>
                  <a:pt x="1255047" y="354771"/>
                </a:cubicBezTo>
                <a:cubicBezTo>
                  <a:pt x="1259149" y="354771"/>
                  <a:pt x="1262808" y="354165"/>
                  <a:pt x="1266079" y="352898"/>
                </a:cubicBezTo>
                <a:cubicBezTo>
                  <a:pt x="1269322" y="351630"/>
                  <a:pt x="1271927" y="349702"/>
                  <a:pt x="1273840" y="347085"/>
                </a:cubicBezTo>
                <a:cubicBezTo>
                  <a:pt x="1275752" y="344467"/>
                  <a:pt x="1276722" y="341134"/>
                  <a:pt x="1276722" y="337084"/>
                </a:cubicBezTo>
                <a:lnTo>
                  <a:pt x="1276722" y="288403"/>
                </a:lnTo>
                <a:lnTo>
                  <a:pt x="1267576" y="288403"/>
                </a:lnTo>
                <a:lnTo>
                  <a:pt x="1267576" y="296117"/>
                </a:lnTo>
                <a:lnTo>
                  <a:pt x="1266882" y="296117"/>
                </a:lnTo>
                <a:cubicBezTo>
                  <a:pt x="1266328" y="295125"/>
                  <a:pt x="1265524" y="293968"/>
                  <a:pt x="1264499" y="292673"/>
                </a:cubicBezTo>
                <a:cubicBezTo>
                  <a:pt x="1263473" y="291379"/>
                  <a:pt x="1262032" y="290221"/>
                  <a:pt x="1260203" y="289257"/>
                </a:cubicBezTo>
                <a:cubicBezTo>
                  <a:pt x="1258373" y="288265"/>
                  <a:pt x="1255962" y="287797"/>
                  <a:pt x="1252996" y="287797"/>
                </a:cubicBezTo>
                <a:close/>
                <a:moveTo>
                  <a:pt x="1545997" y="287769"/>
                </a:moveTo>
                <a:cubicBezTo>
                  <a:pt x="1542394" y="287769"/>
                  <a:pt x="1539428" y="288540"/>
                  <a:pt x="1537072" y="290056"/>
                </a:cubicBezTo>
                <a:cubicBezTo>
                  <a:pt x="1534716" y="291598"/>
                  <a:pt x="1532970" y="293610"/>
                  <a:pt x="1531889" y="296144"/>
                </a:cubicBezTo>
                <a:lnTo>
                  <a:pt x="1531307" y="296144"/>
                </a:lnTo>
                <a:lnTo>
                  <a:pt x="1531307" y="288403"/>
                </a:lnTo>
                <a:lnTo>
                  <a:pt x="1522354" y="288403"/>
                </a:lnTo>
                <a:lnTo>
                  <a:pt x="1522354" y="336009"/>
                </a:lnTo>
                <a:lnTo>
                  <a:pt x="1531695" y="336009"/>
                </a:lnTo>
                <a:lnTo>
                  <a:pt x="1531695" y="307743"/>
                </a:lnTo>
                <a:cubicBezTo>
                  <a:pt x="1531695" y="305236"/>
                  <a:pt x="1532166" y="303059"/>
                  <a:pt x="1533136" y="301268"/>
                </a:cubicBezTo>
                <a:cubicBezTo>
                  <a:pt x="1534106" y="299478"/>
                  <a:pt x="1535409" y="298128"/>
                  <a:pt x="1537100" y="297191"/>
                </a:cubicBezTo>
                <a:cubicBezTo>
                  <a:pt x="1538791" y="296254"/>
                  <a:pt x="1540703" y="295786"/>
                  <a:pt x="1542865" y="295786"/>
                </a:cubicBezTo>
                <a:cubicBezTo>
                  <a:pt x="1546025" y="295786"/>
                  <a:pt x="1548519" y="296750"/>
                  <a:pt x="1550321" y="298706"/>
                </a:cubicBezTo>
                <a:cubicBezTo>
                  <a:pt x="1552123" y="300662"/>
                  <a:pt x="1553037" y="303362"/>
                  <a:pt x="1553037" y="306806"/>
                </a:cubicBezTo>
                <a:lnTo>
                  <a:pt x="1553037" y="335981"/>
                </a:lnTo>
                <a:lnTo>
                  <a:pt x="1562295" y="335981"/>
                </a:lnTo>
                <a:lnTo>
                  <a:pt x="1562295" y="305731"/>
                </a:lnTo>
                <a:cubicBezTo>
                  <a:pt x="1562295" y="301819"/>
                  <a:pt x="1561630" y="298513"/>
                  <a:pt x="1560272" y="295841"/>
                </a:cubicBezTo>
                <a:cubicBezTo>
                  <a:pt x="1558914" y="293169"/>
                  <a:pt x="1557029" y="291158"/>
                  <a:pt x="1554562" y="289808"/>
                </a:cubicBezTo>
                <a:cubicBezTo>
                  <a:pt x="1552123" y="288458"/>
                  <a:pt x="1549240" y="287769"/>
                  <a:pt x="1545997" y="287769"/>
                </a:cubicBezTo>
                <a:close/>
                <a:moveTo>
                  <a:pt x="1334790" y="287769"/>
                </a:moveTo>
                <a:cubicBezTo>
                  <a:pt x="1331187" y="287769"/>
                  <a:pt x="1328221" y="288540"/>
                  <a:pt x="1325865" y="290056"/>
                </a:cubicBezTo>
                <a:cubicBezTo>
                  <a:pt x="1323509" y="291598"/>
                  <a:pt x="1321763" y="293610"/>
                  <a:pt x="1320682" y="296144"/>
                </a:cubicBezTo>
                <a:lnTo>
                  <a:pt x="1320100" y="296144"/>
                </a:lnTo>
                <a:lnTo>
                  <a:pt x="1320100" y="288403"/>
                </a:lnTo>
                <a:lnTo>
                  <a:pt x="1311147" y="288403"/>
                </a:lnTo>
                <a:lnTo>
                  <a:pt x="1311147" y="336009"/>
                </a:lnTo>
                <a:lnTo>
                  <a:pt x="1320488" y="336009"/>
                </a:lnTo>
                <a:lnTo>
                  <a:pt x="1320488" y="307743"/>
                </a:lnTo>
                <a:lnTo>
                  <a:pt x="1320405" y="307743"/>
                </a:lnTo>
                <a:cubicBezTo>
                  <a:pt x="1320405" y="305236"/>
                  <a:pt x="1320876" y="303059"/>
                  <a:pt x="1321846" y="301269"/>
                </a:cubicBezTo>
                <a:cubicBezTo>
                  <a:pt x="1322816" y="299478"/>
                  <a:pt x="1324119" y="298128"/>
                  <a:pt x="1325810" y="297191"/>
                </a:cubicBezTo>
                <a:cubicBezTo>
                  <a:pt x="1327500" y="296254"/>
                  <a:pt x="1329413" y="295786"/>
                  <a:pt x="1331575" y="295786"/>
                </a:cubicBezTo>
                <a:cubicBezTo>
                  <a:pt x="1334735" y="295786"/>
                  <a:pt x="1337229" y="296750"/>
                  <a:pt x="1339031" y="298706"/>
                </a:cubicBezTo>
                <a:cubicBezTo>
                  <a:pt x="1340832" y="300662"/>
                  <a:pt x="1341747" y="303362"/>
                  <a:pt x="1341747" y="306806"/>
                </a:cubicBezTo>
                <a:lnTo>
                  <a:pt x="1341747" y="335982"/>
                </a:lnTo>
                <a:lnTo>
                  <a:pt x="1351088" y="335982"/>
                </a:lnTo>
                <a:lnTo>
                  <a:pt x="1351088" y="305732"/>
                </a:lnTo>
                <a:cubicBezTo>
                  <a:pt x="1351088" y="301820"/>
                  <a:pt x="1350423" y="298514"/>
                  <a:pt x="1349065" y="295841"/>
                </a:cubicBezTo>
                <a:cubicBezTo>
                  <a:pt x="1347707" y="293169"/>
                  <a:pt x="1345822" y="291158"/>
                  <a:pt x="1343355" y="289808"/>
                </a:cubicBezTo>
                <a:cubicBezTo>
                  <a:pt x="1340916" y="288458"/>
                  <a:pt x="1338033" y="287769"/>
                  <a:pt x="1334790" y="287769"/>
                </a:cubicBezTo>
                <a:close/>
                <a:moveTo>
                  <a:pt x="1206265" y="287769"/>
                </a:moveTo>
                <a:cubicBezTo>
                  <a:pt x="1202662" y="287769"/>
                  <a:pt x="1199696" y="288540"/>
                  <a:pt x="1197340" y="290056"/>
                </a:cubicBezTo>
                <a:cubicBezTo>
                  <a:pt x="1194984" y="291598"/>
                  <a:pt x="1193238" y="293610"/>
                  <a:pt x="1192157" y="296144"/>
                </a:cubicBezTo>
                <a:lnTo>
                  <a:pt x="1191575" y="296144"/>
                </a:lnTo>
                <a:lnTo>
                  <a:pt x="1191575" y="288403"/>
                </a:lnTo>
                <a:lnTo>
                  <a:pt x="1182622" y="288403"/>
                </a:lnTo>
                <a:lnTo>
                  <a:pt x="1182622" y="336009"/>
                </a:lnTo>
                <a:lnTo>
                  <a:pt x="1191963" y="336009"/>
                </a:lnTo>
                <a:lnTo>
                  <a:pt x="1191963" y="307743"/>
                </a:lnTo>
                <a:lnTo>
                  <a:pt x="1191880" y="307743"/>
                </a:lnTo>
                <a:cubicBezTo>
                  <a:pt x="1191880" y="305236"/>
                  <a:pt x="1192351" y="303059"/>
                  <a:pt x="1193321" y="301269"/>
                </a:cubicBezTo>
                <a:cubicBezTo>
                  <a:pt x="1194291" y="299478"/>
                  <a:pt x="1195594" y="298128"/>
                  <a:pt x="1197285" y="297191"/>
                </a:cubicBezTo>
                <a:cubicBezTo>
                  <a:pt x="1198948" y="296254"/>
                  <a:pt x="1200888" y="295786"/>
                  <a:pt x="1203050" y="295786"/>
                </a:cubicBezTo>
                <a:cubicBezTo>
                  <a:pt x="1206210" y="295786"/>
                  <a:pt x="1208704" y="296750"/>
                  <a:pt x="1210506" y="298706"/>
                </a:cubicBezTo>
                <a:cubicBezTo>
                  <a:pt x="1212307" y="300662"/>
                  <a:pt x="1213222" y="303362"/>
                  <a:pt x="1213222" y="306806"/>
                </a:cubicBezTo>
                <a:lnTo>
                  <a:pt x="1213222" y="335982"/>
                </a:lnTo>
                <a:lnTo>
                  <a:pt x="1222563" y="335982"/>
                </a:lnTo>
                <a:lnTo>
                  <a:pt x="1222563" y="305732"/>
                </a:lnTo>
                <a:cubicBezTo>
                  <a:pt x="1222563" y="301820"/>
                  <a:pt x="1221898" y="298514"/>
                  <a:pt x="1220540" y="295841"/>
                </a:cubicBezTo>
                <a:cubicBezTo>
                  <a:pt x="1219182" y="293169"/>
                  <a:pt x="1217297" y="291158"/>
                  <a:pt x="1214830" y="289808"/>
                </a:cubicBezTo>
                <a:cubicBezTo>
                  <a:pt x="1212391" y="288458"/>
                  <a:pt x="1209508" y="287769"/>
                  <a:pt x="1206265" y="287769"/>
                </a:cubicBezTo>
                <a:close/>
                <a:moveTo>
                  <a:pt x="1488372" y="287687"/>
                </a:moveTo>
                <a:cubicBezTo>
                  <a:pt x="1485572" y="287687"/>
                  <a:pt x="1483050" y="288431"/>
                  <a:pt x="1480833" y="289891"/>
                </a:cubicBezTo>
                <a:cubicBezTo>
                  <a:pt x="1478615" y="291379"/>
                  <a:pt x="1477063" y="293390"/>
                  <a:pt x="1476204" y="295952"/>
                </a:cubicBezTo>
                <a:lnTo>
                  <a:pt x="1475705" y="295952"/>
                </a:lnTo>
                <a:lnTo>
                  <a:pt x="1475705" y="288403"/>
                </a:lnTo>
                <a:lnTo>
                  <a:pt x="1466697" y="288403"/>
                </a:lnTo>
                <a:lnTo>
                  <a:pt x="1466697" y="336009"/>
                </a:lnTo>
                <a:lnTo>
                  <a:pt x="1476038" y="336009"/>
                </a:lnTo>
                <a:lnTo>
                  <a:pt x="1476038" y="306944"/>
                </a:lnTo>
                <a:cubicBezTo>
                  <a:pt x="1476038" y="304878"/>
                  <a:pt x="1476537" y="303032"/>
                  <a:pt x="1477534" y="301407"/>
                </a:cubicBezTo>
                <a:cubicBezTo>
                  <a:pt x="1478532" y="299781"/>
                  <a:pt x="1479890" y="298514"/>
                  <a:pt x="1481609" y="297605"/>
                </a:cubicBezTo>
                <a:cubicBezTo>
                  <a:pt x="1483327" y="296696"/>
                  <a:pt x="1485295" y="296227"/>
                  <a:pt x="1487485" y="296227"/>
                </a:cubicBezTo>
                <a:cubicBezTo>
                  <a:pt x="1488427" y="296227"/>
                  <a:pt x="1489397" y="296310"/>
                  <a:pt x="1490340" y="296420"/>
                </a:cubicBezTo>
                <a:cubicBezTo>
                  <a:pt x="1491310" y="296558"/>
                  <a:pt x="1491975" y="296668"/>
                  <a:pt x="1492335" y="296778"/>
                </a:cubicBezTo>
                <a:lnTo>
                  <a:pt x="1492335" y="287907"/>
                </a:lnTo>
                <a:cubicBezTo>
                  <a:pt x="1491864" y="287852"/>
                  <a:pt x="1491254" y="287797"/>
                  <a:pt x="1490451" y="287742"/>
                </a:cubicBezTo>
                <a:cubicBezTo>
                  <a:pt x="1489647" y="287687"/>
                  <a:pt x="1488954" y="287687"/>
                  <a:pt x="1488372" y="287687"/>
                </a:cubicBezTo>
                <a:close/>
                <a:moveTo>
                  <a:pt x="1130319" y="272535"/>
                </a:moveTo>
                <a:lnTo>
                  <a:pt x="1130319" y="336037"/>
                </a:lnTo>
                <a:lnTo>
                  <a:pt x="1170759" y="336037"/>
                </a:lnTo>
                <a:lnTo>
                  <a:pt x="1170759" y="327772"/>
                </a:lnTo>
                <a:lnTo>
                  <a:pt x="1139965" y="327772"/>
                </a:lnTo>
                <a:lnTo>
                  <a:pt x="1139965" y="308350"/>
                </a:lnTo>
                <a:lnTo>
                  <a:pt x="1168292" y="308350"/>
                </a:lnTo>
                <a:lnTo>
                  <a:pt x="1168292" y="300140"/>
                </a:lnTo>
                <a:lnTo>
                  <a:pt x="1139965" y="300140"/>
                </a:lnTo>
                <a:lnTo>
                  <a:pt x="1139965" y="280800"/>
                </a:lnTo>
                <a:lnTo>
                  <a:pt x="1170371" y="280800"/>
                </a:lnTo>
                <a:lnTo>
                  <a:pt x="1170371" y="272535"/>
                </a:lnTo>
                <a:close/>
                <a:moveTo>
                  <a:pt x="887431" y="272507"/>
                </a:moveTo>
                <a:lnTo>
                  <a:pt x="846964" y="352980"/>
                </a:lnTo>
                <a:lnTo>
                  <a:pt x="892005" y="352980"/>
                </a:lnTo>
                <a:lnTo>
                  <a:pt x="917948" y="301434"/>
                </a:lnTo>
                <a:lnTo>
                  <a:pt x="1024660" y="513871"/>
                </a:lnTo>
                <a:lnTo>
                  <a:pt x="1069673" y="513871"/>
                </a:lnTo>
                <a:lnTo>
                  <a:pt x="948133" y="272507"/>
                </a:lnTo>
                <a:close/>
                <a:moveTo>
                  <a:pt x="563637" y="272479"/>
                </a:moveTo>
                <a:lnTo>
                  <a:pt x="563637" y="352980"/>
                </a:lnTo>
                <a:lnTo>
                  <a:pt x="604132" y="352980"/>
                </a:lnTo>
                <a:lnTo>
                  <a:pt x="604132" y="312730"/>
                </a:lnTo>
                <a:lnTo>
                  <a:pt x="745796" y="312757"/>
                </a:lnTo>
                <a:lnTo>
                  <a:pt x="745796" y="272507"/>
                </a:lnTo>
                <a:close/>
                <a:moveTo>
                  <a:pt x="390736" y="272479"/>
                </a:moveTo>
                <a:cubicBezTo>
                  <a:pt x="324159" y="272479"/>
                  <a:pt x="269999" y="326642"/>
                  <a:pt x="269999" y="393230"/>
                </a:cubicBezTo>
                <a:cubicBezTo>
                  <a:pt x="269999" y="459818"/>
                  <a:pt x="324159" y="513871"/>
                  <a:pt x="390736" y="513871"/>
                </a:cubicBezTo>
                <a:lnTo>
                  <a:pt x="502964" y="513871"/>
                </a:lnTo>
                <a:lnTo>
                  <a:pt x="502964" y="413314"/>
                </a:lnTo>
                <a:lnTo>
                  <a:pt x="563665" y="413314"/>
                </a:lnTo>
                <a:lnTo>
                  <a:pt x="563665" y="513871"/>
                </a:lnTo>
                <a:lnTo>
                  <a:pt x="725562" y="513871"/>
                </a:lnTo>
                <a:lnTo>
                  <a:pt x="745795" y="473648"/>
                </a:lnTo>
                <a:lnTo>
                  <a:pt x="604132" y="473648"/>
                </a:lnTo>
                <a:lnTo>
                  <a:pt x="604132" y="413314"/>
                </a:lnTo>
                <a:lnTo>
                  <a:pt x="816364" y="413314"/>
                </a:lnTo>
                <a:lnTo>
                  <a:pt x="766029" y="513871"/>
                </a:lnTo>
                <a:lnTo>
                  <a:pt x="811042" y="513871"/>
                </a:lnTo>
                <a:lnTo>
                  <a:pt x="861626" y="413314"/>
                </a:lnTo>
                <a:lnTo>
                  <a:pt x="948132" y="413314"/>
                </a:lnTo>
                <a:lnTo>
                  <a:pt x="927898" y="373091"/>
                </a:lnTo>
                <a:lnTo>
                  <a:pt x="401768" y="373091"/>
                </a:lnTo>
                <a:lnTo>
                  <a:pt x="381534" y="413314"/>
                </a:lnTo>
                <a:lnTo>
                  <a:pt x="462469" y="413314"/>
                </a:lnTo>
                <a:lnTo>
                  <a:pt x="462469" y="473648"/>
                </a:lnTo>
                <a:lnTo>
                  <a:pt x="390736" y="473648"/>
                </a:lnTo>
                <a:cubicBezTo>
                  <a:pt x="346388" y="473648"/>
                  <a:pt x="310273" y="437723"/>
                  <a:pt x="310273" y="393230"/>
                </a:cubicBezTo>
                <a:cubicBezTo>
                  <a:pt x="310273" y="348737"/>
                  <a:pt x="346361" y="312729"/>
                  <a:pt x="390736" y="312729"/>
                </a:cubicBezTo>
                <a:lnTo>
                  <a:pt x="482647" y="312729"/>
                </a:lnTo>
                <a:lnTo>
                  <a:pt x="482647" y="272479"/>
                </a:lnTo>
                <a:close/>
                <a:moveTo>
                  <a:pt x="1505141" y="270000"/>
                </a:moveTo>
                <a:cubicBezTo>
                  <a:pt x="1503506" y="270000"/>
                  <a:pt x="1502120" y="270551"/>
                  <a:pt x="1500983" y="271625"/>
                </a:cubicBezTo>
                <a:cubicBezTo>
                  <a:pt x="1499819" y="272700"/>
                  <a:pt x="1499265" y="274022"/>
                  <a:pt x="1499265" y="275538"/>
                </a:cubicBezTo>
                <a:cubicBezTo>
                  <a:pt x="1499265" y="277053"/>
                  <a:pt x="1499847" y="278348"/>
                  <a:pt x="1500983" y="279422"/>
                </a:cubicBezTo>
                <a:cubicBezTo>
                  <a:pt x="1502148" y="280524"/>
                  <a:pt x="1503534" y="281075"/>
                  <a:pt x="1505141" y="281075"/>
                </a:cubicBezTo>
                <a:cubicBezTo>
                  <a:pt x="1506777" y="281075"/>
                  <a:pt x="1508162" y="280524"/>
                  <a:pt x="1509299" y="279450"/>
                </a:cubicBezTo>
                <a:cubicBezTo>
                  <a:pt x="1510463" y="278375"/>
                  <a:pt x="1511017" y="277080"/>
                  <a:pt x="1511017" y="275565"/>
                </a:cubicBezTo>
                <a:cubicBezTo>
                  <a:pt x="1511017" y="274022"/>
                  <a:pt x="1510435" y="272727"/>
                  <a:pt x="1509299" y="271653"/>
                </a:cubicBezTo>
                <a:cubicBezTo>
                  <a:pt x="1508162" y="270551"/>
                  <a:pt x="1506777" y="270000"/>
                  <a:pt x="1505141" y="270000"/>
                </a:cubicBezTo>
                <a:close/>
                <a:moveTo>
                  <a:pt x="1293907" y="270000"/>
                </a:moveTo>
                <a:cubicBezTo>
                  <a:pt x="1292272" y="270000"/>
                  <a:pt x="1290886" y="270551"/>
                  <a:pt x="1289749" y="271625"/>
                </a:cubicBezTo>
                <a:cubicBezTo>
                  <a:pt x="1288585" y="272700"/>
                  <a:pt x="1288031" y="274022"/>
                  <a:pt x="1288031" y="275538"/>
                </a:cubicBezTo>
                <a:cubicBezTo>
                  <a:pt x="1288031" y="277053"/>
                  <a:pt x="1288613" y="278348"/>
                  <a:pt x="1289749" y="279422"/>
                </a:cubicBezTo>
                <a:cubicBezTo>
                  <a:pt x="1290886" y="280524"/>
                  <a:pt x="1292300" y="281075"/>
                  <a:pt x="1293907" y="281075"/>
                </a:cubicBezTo>
                <a:cubicBezTo>
                  <a:pt x="1295543" y="281075"/>
                  <a:pt x="1296928" y="280524"/>
                  <a:pt x="1298065" y="279450"/>
                </a:cubicBezTo>
                <a:cubicBezTo>
                  <a:pt x="1299229" y="278375"/>
                  <a:pt x="1299783" y="277080"/>
                  <a:pt x="1299783" y="275565"/>
                </a:cubicBezTo>
                <a:cubicBezTo>
                  <a:pt x="1299783" y="274022"/>
                  <a:pt x="1299201" y="272727"/>
                  <a:pt x="1298065" y="271653"/>
                </a:cubicBezTo>
                <a:cubicBezTo>
                  <a:pt x="1296928" y="270551"/>
                  <a:pt x="1295543" y="270000"/>
                  <a:pt x="1293907" y="270000"/>
                </a:cubicBezTo>
                <a:close/>
                <a:moveTo>
                  <a:pt x="0" y="0"/>
                </a:moveTo>
                <a:lnTo>
                  <a:pt x="12207875" y="0"/>
                </a:lnTo>
                <a:lnTo>
                  <a:pt x="12207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GB" dirty="0"/>
              <a:t>Please insert pictur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GEA SANS 48PT</a:t>
            </a:r>
            <a:endParaRPr lang="en-GB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headline optional Inter Medium 16pt</a:t>
            </a:r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uthor, </a:t>
            </a:r>
            <a:br>
              <a:rPr lang="en-GB"/>
            </a:br>
            <a:r>
              <a:rPr lang="en-GB"/>
              <a:t>Place, Date Inter 12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130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2 colum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590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D3B44C4-13E6-4F21-AF98-A550F383956C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8CBEAA-AEA6-4AD9-80A8-74188171D8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5653087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971B60F-35FE-4E1E-9785-FF4BF2AA1D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90" y="2605088"/>
            <a:ext cx="5646735" cy="333851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2449316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190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D71F6E59-1FE2-474F-ACF4-3FC6D1700C7F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F1D41A-0362-4CFF-8DD5-074C1D6936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4032000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719589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small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6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Слайд think-cell" r:id="rId4" imgW="344" imgH="345" progId="TCLayout.ActiveDocument.1">
                  <p:embed/>
                </p:oleObj>
              </mc:Choice>
              <mc:Fallback>
                <p:oleObj name="Слайд think-cell" r:id="rId4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GB" dirty="0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FB1EA382-1553-490D-9BB2-65ED731F5997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 userDrawn="1"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4D5CC2-EDB8-4EBC-A5BA-A7F4D2A4A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59263" y="2605388"/>
            <a:ext cx="5652000" cy="3344561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text level Inter Regular, 14pt</a:t>
            </a:r>
          </a:p>
          <a:p>
            <a:pPr lvl="1"/>
            <a:r>
              <a:rPr lang="en-GB" dirty="0"/>
              <a:t>Second text level Inter Regular, 14pt</a:t>
            </a:r>
          </a:p>
          <a:p>
            <a:pPr lvl="2"/>
            <a:r>
              <a:rPr lang="en-GB" dirty="0"/>
              <a:t>Third text level Inter Regular, 14pt</a:t>
            </a:r>
          </a:p>
          <a:p>
            <a:pPr lvl="3"/>
            <a:r>
              <a:rPr lang="en-GB" dirty="0"/>
              <a:t>Fourth text level Inter Regular, 14pt</a:t>
            </a:r>
          </a:p>
          <a:p>
            <a:pPr lvl="4"/>
            <a:r>
              <a:rPr lang="en-GB" dirty="0"/>
              <a:t>Fifth text level Inter Regular, 14pt</a:t>
            </a:r>
          </a:p>
        </p:txBody>
      </p:sp>
    </p:spTree>
    <p:extLst>
      <p:ext uri="{BB962C8B-B14F-4D97-AF65-F5344CB8AC3E}">
        <p14:creationId xmlns:p14="http://schemas.microsoft.com/office/powerpoint/2010/main" val="3919880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>
          <p15:clr>
            <a:srgbClr val="FBAE40"/>
          </p15:clr>
        </p15:guide>
        <p15:guide id="3" pos="2479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6C0CEA4-5BC5-41CC-9E9B-9E5CD91A4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254264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Слайд think-cell" r:id="rId51" imgW="344" imgH="345" progId="TCLayout.ActiveDocument.1">
                  <p:embed/>
                </p:oleObj>
              </mc:Choice>
              <mc:Fallback>
                <p:oleObj name="Слайд think-cell" r:id="rId51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6C0CEA4-5BC5-41CC-9E9B-9E5CD91A4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EF332DA-E738-431B-8AE7-A7DEE3EB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116649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 Inter Medium bold 30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8E99D9-CA96-4FD7-8A92-0558BC525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449388"/>
            <a:ext cx="1166495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text level Inter Regular, 14pt</a:t>
            </a:r>
          </a:p>
          <a:p>
            <a:pPr lvl="1"/>
            <a:r>
              <a:rPr lang="en-GB" noProof="0" dirty="0"/>
              <a:t>Second text level Inter Regular, 14pt</a:t>
            </a:r>
          </a:p>
          <a:p>
            <a:pPr lvl="2"/>
            <a:r>
              <a:rPr lang="en-GB" noProof="0" dirty="0"/>
              <a:t>Third text level Inter Regular, 14pt</a:t>
            </a:r>
          </a:p>
          <a:p>
            <a:pPr lvl="3"/>
            <a:r>
              <a:rPr lang="en-GB" noProof="0" dirty="0"/>
              <a:t>Fourth text level Inter Regular, 14pt</a:t>
            </a:r>
          </a:p>
          <a:p>
            <a:pPr lvl="4"/>
            <a:r>
              <a:rPr lang="en-GB" noProof="0" dirty="0"/>
              <a:t>Fifth text level Inter Regular, 14pt</a:t>
            </a:r>
          </a:p>
          <a:p>
            <a:pPr lvl="5"/>
            <a:r>
              <a:rPr lang="en-GB" noProof="0" dirty="0"/>
              <a:t>Sixth text level Inter Regular, 14pt</a:t>
            </a:r>
          </a:p>
          <a:p>
            <a:pPr lvl="6"/>
            <a:r>
              <a:rPr lang="en-GB" noProof="0" dirty="0"/>
              <a:t>Eight text level Inter Regular, 14pt</a:t>
            </a:r>
          </a:p>
          <a:p>
            <a:pPr lvl="7"/>
            <a:r>
              <a:rPr lang="en-GB" noProof="0" dirty="0"/>
              <a:t>Ninth text level Inter Regular, 14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01FDD-A44D-476D-8AEB-D86C140562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35756" y="6584135"/>
            <a:ext cx="936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20D85DE0-5A5B-413B-8B26-DF3EEB9BDA85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644C6-3665-4359-A085-B5D0334DBF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8597" y="6584135"/>
            <a:ext cx="4114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434587-7614-47E7-B2CA-70D35FE771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475" y="6584135"/>
            <a:ext cx="288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7D3B735A-0712-4989-8931-598C2A0907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FFA33C5-4836-4BB5-AFB0-C58265646AE1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25B01271-200E-4F33-B311-5D88977B602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576AED9-BBAC-4185-A611-167F3D7F262F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D79D4FC7-7AE3-474B-8E96-1D9EB22499E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 dirty="0">
                <a:solidFill>
                  <a:schemeClr val="tx2"/>
                </a:solidFill>
              </a:endParaRPr>
            </a:p>
          </p:txBody>
        </p:sp>
      </p:grpSp>
      <p:sp>
        <p:nvSpPr>
          <p:cNvPr id="9" name="MSIPCMContentMarking" descr="{&quot;HashCode&quot;:203869560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8B2DF2E3-46B0-4C48-88EB-08166994FA41}"/>
              </a:ext>
            </a:extLst>
          </p:cNvPr>
          <p:cNvSpPr txBox="1"/>
          <p:nvPr userDrawn="1"/>
        </p:nvSpPr>
        <p:spPr>
          <a:xfrm>
            <a:off x="0" y="6656129"/>
            <a:ext cx="627939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80000" indent="-1800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700">
                <a:solidFill>
                  <a:srgbClr val="129C4D"/>
                </a:solidFill>
                <a:latin typeface="Arial" panose="020B060402020202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         GEA PUBLIC</a:t>
            </a:r>
            <a:endParaRPr lang="en-GB" sz="700" dirty="0" err="1">
              <a:solidFill>
                <a:srgbClr val="129C4D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56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1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23.xml"/><Relationship Id="rId7" Type="http://schemas.openxmlformats.org/officeDocument/2006/relationships/diagramData" Target="../diagrams/data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5.jpg"/><Relationship Id="rId11" Type="http://schemas.microsoft.com/office/2007/relationships/diagramDrawing" Target="../diagrams/drawing3.xml"/><Relationship Id="rId5" Type="http://schemas.openxmlformats.org/officeDocument/2006/relationships/image" Target="../media/image11.emf"/><Relationship Id="rId10" Type="http://schemas.openxmlformats.org/officeDocument/2006/relationships/diagramColors" Target="../diagrams/colors3.xml"/><Relationship Id="rId4" Type="http://schemas.openxmlformats.org/officeDocument/2006/relationships/oleObject" Target="../embeddings/oleObject56.bin"/><Relationship Id="rId9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chart" Target="../charts/chart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52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slideLayout" Target="../slideLayouts/slideLayout22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56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0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3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4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37897B-A905-48BB-908C-5B211D32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286" y="953458"/>
            <a:ext cx="5352421" cy="3767185"/>
          </a:xfrm>
        </p:spPr>
        <p:txBody>
          <a:bodyPr/>
          <a:lstStyle/>
          <a:p>
            <a:r>
              <a:rPr lang="ru-RU" b="1" dirty="0"/>
              <a:t>Роботизация в производстве молока.</a:t>
            </a:r>
            <a:br>
              <a:rPr lang="ru-RU" b="1" dirty="0"/>
            </a:br>
            <a:r>
              <a:rPr lang="ru-RU" b="1" dirty="0"/>
              <a:t>Проблемы. Решения. Перспективы.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F7A4FC-B091-41E9-BCF7-E9946076B5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4286" y="5383769"/>
            <a:ext cx="4032000" cy="369332"/>
          </a:xfrm>
        </p:spPr>
        <p:txBody>
          <a:bodyPr anchor="ctr"/>
          <a:lstStyle/>
          <a:p>
            <a:r>
              <a:rPr lang="ru-RU" sz="1333" dirty="0"/>
              <a:t>Артюхов Александр</a:t>
            </a:r>
          </a:p>
          <a:p>
            <a:r>
              <a:rPr lang="ru-RU" sz="1333" dirty="0"/>
              <a:t>Региональный директор по продажам, ГЕА</a:t>
            </a:r>
          </a:p>
          <a:p>
            <a:endParaRPr lang="ru-RU" sz="1333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A5627F3E-4577-4540-9317-0F67BE010F8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3" r="507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07259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A23FB282-375E-49D9-BC15-23596F7D87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406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5EB4FCE-1BB8-4BCA-8A65-3A2C0E345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6" y="229881"/>
            <a:ext cx="11664951" cy="461665"/>
          </a:xfrm>
        </p:spPr>
        <p:txBody>
          <a:bodyPr vert="horz" wrap="square" anchor="t">
            <a:noAutofit/>
          </a:bodyPr>
          <a:lstStyle/>
          <a:p>
            <a:pPr algn="ctr">
              <a:defRPr/>
            </a:pPr>
            <a:r>
              <a:rPr lang="ru-RU" dirty="0"/>
              <a:t>Секреты успеха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E441F15-86BE-42CD-900D-87939B62D5D7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635756" y="6584135"/>
            <a:ext cx="936000" cy="107723"/>
          </a:xfrm>
        </p:spPr>
        <p:txBody>
          <a:bodyPr wrap="square" anchor="ctr">
            <a:normAutofit/>
          </a:bodyPr>
          <a:lstStyle/>
          <a:p>
            <a:pPr>
              <a:spcAft>
                <a:spcPts val="800"/>
              </a:spcAft>
            </a:pPr>
            <a:fld id="{DF32EC24-684D-4702-9A84-3EA80F1C5760}" type="datetime4">
              <a:rPr lang="en-GB" smtClean="0"/>
              <a:t>20 May 2022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5B4F50-8FC1-4FF6-A92A-3F980A90336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640475" y="6584135"/>
            <a:ext cx="288000" cy="107723"/>
          </a:xfrm>
        </p:spPr>
        <p:txBody>
          <a:bodyPr wrap="square" anchor="ctr">
            <a:normAutofit/>
          </a:bodyPr>
          <a:lstStyle/>
          <a:p>
            <a:pPr>
              <a:spcAft>
                <a:spcPts val="800"/>
              </a:spcAft>
            </a:pPr>
            <a:fld id="{D46619FA-62B9-4C58-8D46-9877ED4AF800}" type="slidenum">
              <a:rPr lang="de-DE" smtClean="0"/>
              <a:pPr>
                <a:spcAft>
                  <a:spcPts val="800"/>
                </a:spcAft>
              </a:pPr>
              <a:t>10</a:t>
            </a:fld>
            <a:r>
              <a:rPr lang="de-DE"/>
              <a:t>  </a:t>
            </a:r>
          </a:p>
        </p:txBody>
      </p:sp>
      <p:pic>
        <p:nvPicPr>
          <p:cNvPr id="6" name="Inhaltsplatzhalter 5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F1437286-F7D9-4466-92CA-B2498C974F8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981" y="1205873"/>
            <a:ext cx="3821424" cy="4729196"/>
          </a:xfrm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BEE28A57-0E33-44AE-BD07-9724E768CF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988390"/>
              </p:ext>
            </p:extLst>
          </p:nvPr>
        </p:nvGraphicFramePr>
        <p:xfrm>
          <a:off x="4540560" y="1205873"/>
          <a:ext cx="7007225" cy="4928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F391D74C-2058-46D2-AF19-DFAEE49B957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22165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9D6EC02D-6242-4F9E-81F6-F0F8FC4D04E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4573" r="13206" b="1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93CB3407-4706-4612-B30E-F107801F1D4B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635756" y="6584135"/>
            <a:ext cx="936000" cy="107722"/>
          </a:xfrm>
        </p:spPr>
        <p:txBody>
          <a:bodyPr/>
          <a:lstStyle/>
          <a:p>
            <a:pPr>
              <a:spcAft>
                <a:spcPts val="800"/>
              </a:spcAft>
            </a:pPr>
            <a:fld id="{A4616C3C-230F-4AA8-9D67-2DAEE6897D17}" type="datetime4">
              <a:rPr lang="en-GB" smtClean="0"/>
              <a:t>20 May 2022</a:t>
            </a:fld>
            <a:endParaRPr lang="en-GB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AE6E1087-E4ED-4252-8EE0-FBCF2771C57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40475" y="6584135"/>
            <a:ext cx="288000" cy="107722"/>
          </a:xfrm>
        </p:spPr>
        <p:txBody>
          <a:bodyPr/>
          <a:lstStyle/>
          <a:p>
            <a:pPr>
              <a:spcAft>
                <a:spcPts val="800"/>
              </a:spcAft>
            </a:pPr>
            <a:fld id="{7D3B735A-0712-4989-8931-598C2A0907B8}" type="slidenum">
              <a:rPr lang="en-GB" smtClean="0"/>
              <a:pPr>
                <a:spcAft>
                  <a:spcPts val="800"/>
                </a:spcAft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1257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B9888E-659E-410A-BC07-DEB701C07A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" name="Слайд think-cell" r:id="rId5" imgW="344" imgH="345" progId="TCLayout.ActiveDocument.1">
                  <p:embed/>
                </p:oleObj>
              </mc:Choice>
              <mc:Fallback>
                <p:oleObj name="Слайд think-cell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CB9888E-659E-410A-BC07-DEB701C07A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8008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E4B35D89-AA9F-4576-9A2F-F1B0219EB4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25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8" name="Слайд think-cell" r:id="rId5" imgW="344" imgH="345" progId="TCLayout.ActiveDocument.1">
                  <p:embed/>
                </p:oleObj>
              </mc:Choice>
              <mc:Fallback>
                <p:oleObj name="Слайд think-cell" r:id="rId5" imgW="344" imgH="345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E4B35D89-AA9F-4576-9A2F-F1B0219EB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BA759DDA-090F-45C2-AB05-2613F367D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7668634" cy="492443"/>
          </a:xfrm>
        </p:spPr>
        <p:txBody>
          <a:bodyPr vert="horz"/>
          <a:lstStyle/>
          <a:p>
            <a:pPr algn="ctr"/>
            <a:r>
              <a:rPr lang="ru-RU" sz="3200" dirty="0"/>
              <a:t>Почему интересуются роботами?</a:t>
            </a: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AADD09A-5E01-4341-89B8-26D6623BA44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5721997-5DBF-49AA-8792-83AEC7AC6ED9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E9140C4-768E-425D-9251-28D29E6686B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D3B735A-0712-4989-8931-598C2A0907B8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24" name="Inhaltsplatzhalter 19">
            <a:extLst>
              <a:ext uri="{FF2B5EF4-FFF2-40B4-BE49-F238E27FC236}">
                <a16:creationId xmlns:a16="http://schemas.microsoft.com/office/drawing/2014/main" id="{BF6F739E-21F1-4AD9-8B85-2CE02E7E0778}"/>
              </a:ext>
            </a:extLst>
          </p:cNvPr>
          <p:cNvSpPr txBox="1">
            <a:spLocks/>
          </p:cNvSpPr>
          <p:nvPr/>
        </p:nvSpPr>
        <p:spPr>
          <a:xfrm>
            <a:off x="263525" y="1449387"/>
            <a:ext cx="2022475" cy="1384300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72000" rIns="108000" bIns="72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b="1" dirty="0">
                <a:solidFill>
                  <a:schemeClr val="bg1"/>
                </a:solidFill>
              </a:rPr>
              <a:t>Кадры</a:t>
            </a:r>
          </a:p>
        </p:txBody>
      </p:sp>
      <p:sp>
        <p:nvSpPr>
          <p:cNvPr id="25" name="Inhaltsplatzhalter 20">
            <a:extLst>
              <a:ext uri="{FF2B5EF4-FFF2-40B4-BE49-F238E27FC236}">
                <a16:creationId xmlns:a16="http://schemas.microsoft.com/office/drawing/2014/main" id="{3468F0C7-1BC4-40A7-AD10-51C597FEFF96}"/>
              </a:ext>
            </a:extLst>
          </p:cNvPr>
          <p:cNvSpPr txBox="1">
            <a:spLocks/>
          </p:cNvSpPr>
          <p:nvPr/>
        </p:nvSpPr>
        <p:spPr>
          <a:xfrm>
            <a:off x="263525" y="3004025"/>
            <a:ext cx="2022475" cy="1384300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72000" rIns="108000" bIns="72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ru-RU" sz="1800" b="1" dirty="0">
                <a:solidFill>
                  <a:schemeClr val="bg1"/>
                </a:solidFill>
              </a:rPr>
              <a:t>Качество</a:t>
            </a:r>
          </a:p>
        </p:txBody>
      </p:sp>
      <p:sp>
        <p:nvSpPr>
          <p:cNvPr id="26" name="Inhaltsplatzhalter 21">
            <a:extLst>
              <a:ext uri="{FF2B5EF4-FFF2-40B4-BE49-F238E27FC236}">
                <a16:creationId xmlns:a16="http://schemas.microsoft.com/office/drawing/2014/main" id="{617B1282-D42D-4985-BFBC-1C3D10012FFF}"/>
              </a:ext>
            </a:extLst>
          </p:cNvPr>
          <p:cNvSpPr txBox="1">
            <a:spLocks/>
          </p:cNvSpPr>
          <p:nvPr/>
        </p:nvSpPr>
        <p:spPr>
          <a:xfrm>
            <a:off x="263525" y="4562033"/>
            <a:ext cx="2022475" cy="1384300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72000" rIns="108000" bIns="72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b="1" dirty="0">
                <a:solidFill>
                  <a:schemeClr val="bg1"/>
                </a:solidFill>
              </a:rPr>
              <a:t>В ногу со временем</a:t>
            </a:r>
          </a:p>
        </p:txBody>
      </p:sp>
      <p:sp>
        <p:nvSpPr>
          <p:cNvPr id="35" name="Inhaltsplatzhalter 20">
            <a:extLst>
              <a:ext uri="{FF2B5EF4-FFF2-40B4-BE49-F238E27FC236}">
                <a16:creationId xmlns:a16="http://schemas.microsoft.com/office/drawing/2014/main" id="{DCCE0005-AEC7-4F48-8581-3DDBE20AC026}"/>
              </a:ext>
            </a:extLst>
          </p:cNvPr>
          <p:cNvSpPr txBox="1">
            <a:spLocks/>
          </p:cNvSpPr>
          <p:nvPr/>
        </p:nvSpPr>
        <p:spPr>
          <a:xfrm>
            <a:off x="2422187" y="3008884"/>
            <a:ext cx="5510551" cy="1384995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412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2400" dirty="0"/>
              <a:t>Отсутствие человеческого фактора</a:t>
            </a:r>
          </a:p>
        </p:txBody>
      </p:sp>
      <p:sp>
        <p:nvSpPr>
          <p:cNvPr id="36" name="Inhaltsplatzhalter 21">
            <a:extLst>
              <a:ext uri="{FF2B5EF4-FFF2-40B4-BE49-F238E27FC236}">
                <a16:creationId xmlns:a16="http://schemas.microsoft.com/office/drawing/2014/main" id="{E1609DAE-FE15-458C-80B8-F21DEAF34D42}"/>
              </a:ext>
            </a:extLst>
          </p:cNvPr>
          <p:cNvSpPr txBox="1">
            <a:spLocks/>
          </p:cNvSpPr>
          <p:nvPr/>
        </p:nvSpPr>
        <p:spPr>
          <a:xfrm>
            <a:off x="2422187" y="4562909"/>
            <a:ext cx="5510551" cy="1384995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412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2400" dirty="0"/>
              <a:t>Инновационные продукт</a:t>
            </a:r>
          </a:p>
          <a:p>
            <a:pPr lvl="1"/>
            <a:r>
              <a:rPr lang="ru-RU" sz="2400" dirty="0"/>
              <a:t>Смотрим в будущее</a:t>
            </a:r>
          </a:p>
        </p:txBody>
      </p:sp>
      <p:sp>
        <p:nvSpPr>
          <p:cNvPr id="22" name="Inhaltsplatzhalter 20">
            <a:extLst>
              <a:ext uri="{FF2B5EF4-FFF2-40B4-BE49-F238E27FC236}">
                <a16:creationId xmlns:a16="http://schemas.microsoft.com/office/drawing/2014/main" id="{784DFA6A-C1FF-4C38-BBE5-478AF1C84E69}"/>
              </a:ext>
            </a:extLst>
          </p:cNvPr>
          <p:cNvSpPr txBox="1">
            <a:spLocks/>
          </p:cNvSpPr>
          <p:nvPr/>
        </p:nvSpPr>
        <p:spPr>
          <a:xfrm>
            <a:off x="2421608" y="1445394"/>
            <a:ext cx="5510551" cy="1384995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412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Дорого (зарплата)</a:t>
            </a:r>
          </a:p>
          <a:p>
            <a:pPr marL="285750" lvl="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Квалификация</a:t>
            </a:r>
          </a:p>
          <a:p>
            <a:pPr marL="285750" lvl="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Нет персонала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FE8436B-B175-4FDC-8E03-87FBAE48E56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 dirty="0"/>
              <a:t>XIII МОЛОЧНАЯ ОЛИМПИАДА_Алматы_GE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713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35" grpId="0" animBg="1"/>
      <p:bldP spid="36" grpId="0" animBg="1"/>
      <p:bldP spid="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E39465E3-6D2E-4A00-93DC-39AF0B3426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205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4" name="Слайд think-cell" r:id="rId10" imgW="344" imgH="345" progId="TCLayout.ActiveDocument.1">
                  <p:embed/>
                </p:oleObj>
              </mc:Choice>
              <mc:Fallback>
                <p:oleObj name="Слайд think-cell" r:id="rId10" imgW="344" imgH="345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E39465E3-6D2E-4A00-93DC-39AF0B342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3906F1E3-DA99-4B74-86D5-F171FEFC2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11664950" cy="923330"/>
          </a:xfrm>
        </p:spPr>
        <p:txBody>
          <a:bodyPr vert="horz"/>
          <a:lstStyle/>
          <a:p>
            <a:pPr algn="ctr"/>
            <a:r>
              <a:rPr lang="ru-RU" dirty="0"/>
              <a:t>Автоматизация захватит все процессы, в которых она возможна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F86036F-5B64-40EF-A30C-FB91D770E4BA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635756" y="6584135"/>
            <a:ext cx="936000" cy="10772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2981E-B93E-4CD0-BF33-F91FED650B64}" type="datetime4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20 May 2022</a:t>
            </a:fld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CE8F53-0B61-4DEB-B99D-C6E266455CD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640475" y="6584135"/>
            <a:ext cx="288000" cy="10772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B735A-0712-4989-8931-598C2A0907B8}" type="slidenum">
              <a:rPr kumimoji="0" lang="ru-RU" sz="700" b="0" i="0" u="none" strike="noStrike" kern="1200" cap="none" spc="0" normalizeH="0" baseline="0" noProof="0" smtClean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grpSp>
        <p:nvGrpSpPr>
          <p:cNvPr id="9" name="Gruppieren 6">
            <a:extLst>
              <a:ext uri="{FF2B5EF4-FFF2-40B4-BE49-F238E27FC236}">
                <a16:creationId xmlns:a16="http://schemas.microsoft.com/office/drawing/2014/main" id="{DB9B0B5F-5199-43ED-B335-8EEC6EB361F4}"/>
              </a:ext>
            </a:extLst>
          </p:cNvPr>
          <p:cNvGrpSpPr/>
          <p:nvPr/>
        </p:nvGrpSpPr>
        <p:grpSpPr>
          <a:xfrm>
            <a:off x="3183875" y="1365250"/>
            <a:ext cx="8732311" cy="5324425"/>
            <a:chOff x="1074806" y="831892"/>
            <a:chExt cx="7430601" cy="4582044"/>
          </a:xfrm>
        </p:grpSpPr>
        <p:pic>
          <p:nvPicPr>
            <p:cNvPr id="11" name="Grafik 5">
              <a:extLst>
                <a:ext uri="{FF2B5EF4-FFF2-40B4-BE49-F238E27FC236}">
                  <a16:creationId xmlns:a16="http://schemas.microsoft.com/office/drawing/2014/main" id="{DC046C48-CCC1-46BA-8A0C-169C9AC30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798136" y="831892"/>
              <a:ext cx="5707271" cy="3688711"/>
            </a:xfrm>
            <a:prstGeom prst="rect">
              <a:avLst/>
            </a:prstGeom>
            <a:ln>
              <a:noFill/>
            </a:ln>
          </p:spPr>
        </p:pic>
        <p:sp>
          <p:nvSpPr>
            <p:cNvPr id="12" name="Textfeld 8">
              <a:extLst>
                <a:ext uri="{FF2B5EF4-FFF2-40B4-BE49-F238E27FC236}">
                  <a16:creationId xmlns:a16="http://schemas.microsoft.com/office/drawing/2014/main" id="{B4E2D7EB-A185-4BF0-A81D-BC5077E4005E}"/>
                </a:ext>
              </a:extLst>
            </p:cNvPr>
            <p:cNvSpPr txBox="1"/>
            <p:nvPr/>
          </p:nvSpPr>
          <p:spPr>
            <a:xfrm>
              <a:off x="1074806" y="5307990"/>
              <a:ext cx="2925992" cy="10594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defTabSz="91440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tx2"/>
                </a:buClr>
                <a:buSzPct val="110000"/>
                <a:buFont typeface="Arial" pitchFamily="34" charset="0"/>
                <a:buNone/>
                <a:tabLst/>
              </a:pPr>
              <a:r>
                <a:rPr lang="ru-RU" sz="800" kern="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сточник</a:t>
              </a:r>
              <a:r>
                <a:rPr kumimoji="0" lang="en-US" sz="800" b="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ru-RU" sz="800" kern="0" noProof="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анные</a:t>
              </a:r>
              <a:r>
                <a:rPr kumimoji="0" lang="en-US" sz="800" b="0" u="none" strike="noStrike" kern="0" cap="none" spc="0" normalizeH="0" baseline="0" dirty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VDMA</a:t>
              </a:r>
              <a:r>
                <a:rPr kumimoji="0" lang="ru-RU" sz="800" b="0" u="none" strike="noStrike" kern="0" cap="none" spc="0" normalizeH="0" baseline="0" dirty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, Германия</a:t>
              </a:r>
              <a:endParaRPr kumimoji="0" lang="en-US" sz="800" b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aphicFrame>
        <p:nvGraphicFramePr>
          <p:cNvPr id="43" name="Chart 3">
            <a:extLst>
              <a:ext uri="{FF2B5EF4-FFF2-40B4-BE49-F238E27FC236}">
                <a16:creationId xmlns:a16="http://schemas.microsoft.com/office/drawing/2014/main" id="{2CB69256-0537-4761-88C9-C478C7BD7C9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96631967"/>
              </p:ext>
            </p:extLst>
          </p:nvPr>
        </p:nvGraphicFramePr>
        <p:xfrm>
          <a:off x="1179513" y="20605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6E02454-689E-4D68-9565-42BEB079627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20763" y="5548313"/>
            <a:ext cx="250825" cy="187325"/>
          </a:xfrm>
          <a:prstGeom prst="rect">
            <a:avLst/>
          </a:prstGeom>
          <a:solidFill>
            <a:srgbClr val="5698D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en-GB" sz="1400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BFC703DA-2804-435D-8FCA-508B024957C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20763" y="5284788"/>
            <a:ext cx="250825" cy="187325"/>
          </a:xfrm>
          <a:prstGeom prst="rect">
            <a:avLst/>
          </a:prstGeom>
          <a:solidFill>
            <a:srgbClr val="69C59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en-GB" sz="1400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F8E99D9-CA96-4FD7-8A92-0558BC525AF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22389" y="5543550"/>
            <a:ext cx="2339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6F18B4-70A6-4111-982B-0A06C8E5E448}" type="datetime'Р''обо''тиз''''''''''и''ро''в''анн''ое'''' ''до''''е''ни''''е'">
              <a:rPr lang="ru-RU" altLang="en-US" smtClean="0"/>
              <a:pPr/>
              <a:t>Роботизированное доение</a:t>
            </a:fld>
            <a:endParaRPr lang="en-GB" noProof="0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8F8E99D9-CA96-4FD7-8A92-0558BC525AF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22388" y="5280025"/>
            <a:ext cx="1965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6F15F7-A931-4E7A-9EEE-614371ACB0BB}" type="datetime'''Тр''''''''а''''дици''''о''''''н''ное'''''' ''до''ени''е'">
              <a:rPr lang="ru-RU" altLang="en-US" smtClean="0"/>
              <a:pPr/>
              <a:t>Традиционное доение</a:t>
            </a:fld>
            <a:endParaRPr lang="en-GB" noProof="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C2A91C-2BB9-4E2E-82DB-0371D1C706F2}"/>
              </a:ext>
            </a:extLst>
          </p:cNvPr>
          <p:cNvSpPr txBox="1"/>
          <p:nvPr/>
        </p:nvSpPr>
        <p:spPr>
          <a:xfrm>
            <a:off x="365083" y="1480693"/>
            <a:ext cx="35682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1400" i="1" dirty="0">
                <a:solidFill>
                  <a:schemeClr val="tx2"/>
                </a:solidFill>
              </a:rPr>
              <a:t>Соотношение доильного оборудования </a:t>
            </a:r>
          </a:p>
          <a:p>
            <a:pPr algn="l">
              <a:buClr>
                <a:schemeClr val="accent1"/>
              </a:buClr>
            </a:pPr>
            <a:r>
              <a:rPr lang="ru-RU" sz="1400" i="1" dirty="0">
                <a:solidFill>
                  <a:schemeClr val="tx2"/>
                </a:solidFill>
              </a:rPr>
              <a:t>в Германии в 2019, % </a:t>
            </a:r>
            <a:endParaRPr lang="en-GB" sz="1400" i="1" dirty="0" err="1">
              <a:solidFill>
                <a:schemeClr val="tx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ECB8268-FFFC-42C0-B96F-E08686770407}"/>
              </a:ext>
            </a:extLst>
          </p:cNvPr>
          <p:cNvSpPr txBox="1"/>
          <p:nvPr/>
        </p:nvSpPr>
        <p:spPr>
          <a:xfrm>
            <a:off x="5648283" y="1511753"/>
            <a:ext cx="605497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1400" i="1" dirty="0">
                <a:solidFill>
                  <a:schemeClr val="tx2"/>
                </a:solidFill>
              </a:rPr>
              <a:t>Традиционное доение и роботизированное доение, % ферм</a:t>
            </a:r>
            <a:endParaRPr lang="en-GB" sz="1400" i="1" dirty="0" err="1">
              <a:solidFill>
                <a:schemeClr val="tx2"/>
              </a:solidFill>
            </a:endParaRPr>
          </a:p>
        </p:txBody>
      </p:sp>
      <p:sp>
        <p:nvSpPr>
          <p:cNvPr id="35" name="Нижний колонтитул 34">
            <a:extLst>
              <a:ext uri="{FF2B5EF4-FFF2-40B4-BE49-F238E27FC236}">
                <a16:creationId xmlns:a16="http://schemas.microsoft.com/office/drawing/2014/main" id="{7395EFDF-34EF-4B06-998F-1A10AFB683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 dirty="0"/>
              <a:t>XIII МОЛОЧНАЯ ОЛИМПИАДА_Алматы_GE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5102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3" grpId="0">
        <p:bldAsOne/>
      </p:bldGraphic>
      <p:bldP spid="26" grpId="0" animBg="1"/>
      <p:bldP spid="29" grpId="0" animBg="1"/>
      <p:bldP spid="14" grpId="0"/>
      <p:bldP spid="13" grpId="0"/>
      <p:bldP spid="31" grpId="0"/>
      <p:bldP spid="3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E39465E3-6D2E-4A00-93DC-39AF0B3426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33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1" name="Слайд think-cell" r:id="rId5" imgW="344" imgH="345" progId="TCLayout.ActiveDocument.1">
                  <p:embed/>
                </p:oleObj>
              </mc:Choice>
              <mc:Fallback>
                <p:oleObj name="Слайд think-cell" r:id="rId5" imgW="344" imgH="345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E39465E3-6D2E-4A00-93DC-39AF0B342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3906F1E3-DA99-4B74-86D5-F171FEFC2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/>
          <a:p>
            <a:pPr algn="ctr"/>
            <a:r>
              <a:rPr lang="ru-RU" dirty="0"/>
              <a:t>Выбор технологии доения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F86036F-5B64-40EF-A30C-FB91D770E4BA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635756" y="6584135"/>
            <a:ext cx="936000" cy="10772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A5BAC1-70F1-4F1C-B21A-435CC12D024E}" type="datetime4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20 May 2022</a:t>
            </a:fld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CE8F53-0B61-4DEB-B99D-C6E266455CD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640475" y="6584135"/>
            <a:ext cx="288000" cy="10772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B735A-0712-4989-8931-598C2A0907B8}" type="slidenum">
              <a:rPr kumimoji="0" lang="ru-RU" sz="700" b="0" i="0" u="none" strike="noStrike" kern="1200" cap="none" spc="0" normalizeH="0" baseline="0" noProof="0" smtClean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graphicFrame>
        <p:nvGraphicFramePr>
          <p:cNvPr id="15" name="Схема 14">
            <a:extLst>
              <a:ext uri="{FF2B5EF4-FFF2-40B4-BE49-F238E27FC236}">
                <a16:creationId xmlns:a16="http://schemas.microsoft.com/office/drawing/2014/main" id="{0F0A9263-C6E9-49FF-871E-7622F50368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617847"/>
              </p:ext>
            </p:extLst>
          </p:nvPr>
        </p:nvGraphicFramePr>
        <p:xfrm>
          <a:off x="4657725" y="1019174"/>
          <a:ext cx="7181849" cy="50387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7" name="Схема 36">
            <a:extLst>
              <a:ext uri="{FF2B5EF4-FFF2-40B4-BE49-F238E27FC236}">
                <a16:creationId xmlns:a16="http://schemas.microsoft.com/office/drawing/2014/main" id="{97302DDB-2D32-4404-84F7-E2397240E3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681160"/>
              </p:ext>
            </p:extLst>
          </p:nvPr>
        </p:nvGraphicFramePr>
        <p:xfrm>
          <a:off x="904875" y="1019175"/>
          <a:ext cx="3409950" cy="5038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9" name="Нижний колонтитул 2">
            <a:extLst>
              <a:ext uri="{FF2B5EF4-FFF2-40B4-BE49-F238E27FC236}">
                <a16:creationId xmlns:a16="http://schemas.microsoft.com/office/drawing/2014/main" id="{BE008B2D-7F8B-4317-A699-C130B17C372A}"/>
              </a:ext>
            </a:extLst>
          </p:cNvPr>
          <p:cNvSpPr txBox="1">
            <a:spLocks/>
          </p:cNvSpPr>
          <p:nvPr/>
        </p:nvSpPr>
        <p:spPr>
          <a:xfrm>
            <a:off x="1143372" y="6574259"/>
            <a:ext cx="4114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lnSpc>
                <a:spcPct val="100000"/>
              </a:lnSpc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XIII МОЛОЧНАЯ ОЛИМПИАДА_Алматы_GE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0820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Graphic spid="37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E4B35D89-AA9F-4576-9A2F-F1B0219EB4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5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Слайд think-cell" r:id="rId5" imgW="344" imgH="345" progId="TCLayout.ActiveDocument.1">
                  <p:embed/>
                </p:oleObj>
              </mc:Choice>
              <mc:Fallback>
                <p:oleObj name="Слайд think-cell" r:id="rId5" imgW="344" imgH="345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E4B35D89-AA9F-4576-9A2F-F1B0219EB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BA759DDA-090F-45C2-AB05-2613F367D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ru-RU" dirty="0"/>
              <a:t>Технологии содержания </a:t>
            </a: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AADD09A-5E01-4341-89B8-26D6623BA44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8194A79-2544-4F22-A0EF-088C6815899C}" type="datetime4">
              <a:rPr lang="en-GB" smtClean="0"/>
              <a:t>20 May 2022</a:t>
            </a:fld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E9140C4-768E-425D-9251-28D29E6686B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D3B735A-0712-4989-8931-598C2A0907B8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4" name="Inhaltsplatzhalter 19">
            <a:extLst>
              <a:ext uri="{FF2B5EF4-FFF2-40B4-BE49-F238E27FC236}">
                <a16:creationId xmlns:a16="http://schemas.microsoft.com/office/drawing/2014/main" id="{BF6F739E-21F1-4AD9-8B85-2CE02E7E0778}"/>
              </a:ext>
            </a:extLst>
          </p:cNvPr>
          <p:cNvSpPr txBox="1">
            <a:spLocks/>
          </p:cNvSpPr>
          <p:nvPr/>
        </p:nvSpPr>
        <p:spPr>
          <a:xfrm>
            <a:off x="263763" y="1120711"/>
            <a:ext cx="3888000" cy="626701"/>
          </a:xfrm>
          <a:prstGeom prst="chevron">
            <a:avLst>
              <a:gd name="adj" fmla="val 32441"/>
            </a:avLst>
          </a:prstGeom>
          <a:solidFill>
            <a:schemeClr val="accent2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ru-RU" sz="1800" b="1" dirty="0">
                <a:solidFill>
                  <a:schemeClr val="bg1"/>
                </a:solidFill>
              </a:rPr>
              <a:t>Малое семейное предприятие</a:t>
            </a:r>
          </a:p>
        </p:txBody>
      </p:sp>
      <p:sp>
        <p:nvSpPr>
          <p:cNvPr id="25" name="Inhaltsplatzhalter 20">
            <a:extLst>
              <a:ext uri="{FF2B5EF4-FFF2-40B4-BE49-F238E27FC236}">
                <a16:creationId xmlns:a16="http://schemas.microsoft.com/office/drawing/2014/main" id="{3468F0C7-1BC4-40A7-AD10-51C597FEFF96}"/>
              </a:ext>
            </a:extLst>
          </p:cNvPr>
          <p:cNvSpPr txBox="1">
            <a:spLocks/>
          </p:cNvSpPr>
          <p:nvPr/>
        </p:nvSpPr>
        <p:spPr>
          <a:xfrm>
            <a:off x="4151526" y="1136038"/>
            <a:ext cx="3888000" cy="626701"/>
          </a:xfrm>
          <a:prstGeom prst="chevron">
            <a:avLst>
              <a:gd name="adj" fmla="val 32441"/>
            </a:avLst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ru-RU" sz="1800" b="1" dirty="0">
                <a:solidFill>
                  <a:schemeClr val="bg1"/>
                </a:solidFill>
              </a:rPr>
              <a:t>Средняя ферма с наёмным трудом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26" name="Inhaltsplatzhalter 21">
            <a:extLst>
              <a:ext uri="{FF2B5EF4-FFF2-40B4-BE49-F238E27FC236}">
                <a16:creationId xmlns:a16="http://schemas.microsoft.com/office/drawing/2014/main" id="{617B1282-D42D-4985-BFBC-1C3D10012FFF}"/>
              </a:ext>
            </a:extLst>
          </p:cNvPr>
          <p:cNvSpPr txBox="1">
            <a:spLocks/>
          </p:cNvSpPr>
          <p:nvPr/>
        </p:nvSpPr>
        <p:spPr>
          <a:xfrm>
            <a:off x="7985001" y="1126890"/>
            <a:ext cx="3888000" cy="626701"/>
          </a:xfrm>
          <a:prstGeom prst="chevron">
            <a:avLst>
              <a:gd name="adj" fmla="val 32441"/>
            </a:avLst>
          </a:prstGeom>
          <a:solidFill>
            <a:schemeClr val="tx2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ru-RU" sz="1800" b="1" dirty="0">
                <a:solidFill>
                  <a:schemeClr val="bg1"/>
                </a:solidFill>
              </a:rPr>
              <a:t>Промышленная ферма </a:t>
            </a:r>
          </a:p>
        </p:txBody>
      </p:sp>
      <p:sp>
        <p:nvSpPr>
          <p:cNvPr id="35" name="Inhaltsplatzhalter 20">
            <a:extLst>
              <a:ext uri="{FF2B5EF4-FFF2-40B4-BE49-F238E27FC236}">
                <a16:creationId xmlns:a16="http://schemas.microsoft.com/office/drawing/2014/main" id="{DCCE0005-AEC7-4F48-8581-3DDBE20AC026}"/>
              </a:ext>
            </a:extLst>
          </p:cNvPr>
          <p:cNvSpPr txBox="1">
            <a:spLocks/>
          </p:cNvSpPr>
          <p:nvPr/>
        </p:nvSpPr>
        <p:spPr>
          <a:xfrm>
            <a:off x="4151999" y="2076088"/>
            <a:ext cx="3690000" cy="4077158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200" dirty="0"/>
              <a:t>400-800 коров</a:t>
            </a:r>
          </a:p>
          <a:p>
            <a:pPr lvl="1"/>
            <a:r>
              <a:rPr lang="ru-RU" sz="2200" dirty="0"/>
              <a:t>Добровольное доение или групповое роботизированное  доение</a:t>
            </a:r>
          </a:p>
          <a:p>
            <a:pPr lvl="1"/>
            <a:r>
              <a:rPr lang="ru-RU" sz="2200" dirty="0"/>
              <a:t>Основная предпосылка: бизнес с экономией на наёмным рабочем труде и собственными специалистами</a:t>
            </a:r>
          </a:p>
        </p:txBody>
      </p:sp>
      <p:sp>
        <p:nvSpPr>
          <p:cNvPr id="36" name="Inhaltsplatzhalter 21">
            <a:extLst>
              <a:ext uri="{FF2B5EF4-FFF2-40B4-BE49-F238E27FC236}">
                <a16:creationId xmlns:a16="http://schemas.microsoft.com/office/drawing/2014/main" id="{E1609DAE-FE15-458C-80B8-F21DEAF34D42}"/>
              </a:ext>
            </a:extLst>
          </p:cNvPr>
          <p:cNvSpPr txBox="1">
            <a:spLocks/>
          </p:cNvSpPr>
          <p:nvPr/>
        </p:nvSpPr>
        <p:spPr>
          <a:xfrm>
            <a:off x="8040473" y="2076088"/>
            <a:ext cx="3777057" cy="4077158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200" dirty="0"/>
              <a:t>Более 800 коров</a:t>
            </a:r>
          </a:p>
          <a:p>
            <a:pPr lvl="1"/>
            <a:endParaRPr lang="ru-RU" sz="2200" dirty="0"/>
          </a:p>
          <a:p>
            <a:pPr lvl="1"/>
            <a:r>
              <a:rPr lang="ru-RU" sz="2200" dirty="0"/>
              <a:t>Групповое доение в роботизированной карусели</a:t>
            </a:r>
          </a:p>
          <a:p>
            <a:pPr lvl="1"/>
            <a:endParaRPr lang="ru-RU" sz="2200" dirty="0"/>
          </a:p>
          <a:p>
            <a:pPr lvl="1"/>
            <a:r>
              <a:rPr lang="ru-RU" sz="2200" dirty="0"/>
              <a:t>Основная предпосылка: индустриальный бизнес с максимальной производительностью и отдачей</a:t>
            </a:r>
          </a:p>
        </p:txBody>
      </p:sp>
      <p:sp>
        <p:nvSpPr>
          <p:cNvPr id="18" name="Inhaltsplatzhalter 20">
            <a:extLst>
              <a:ext uri="{FF2B5EF4-FFF2-40B4-BE49-F238E27FC236}">
                <a16:creationId xmlns:a16="http://schemas.microsoft.com/office/drawing/2014/main" id="{42F1E0E3-27AB-4987-B72F-792CF16E55D8}"/>
              </a:ext>
            </a:extLst>
          </p:cNvPr>
          <p:cNvSpPr txBox="1">
            <a:spLocks/>
          </p:cNvSpPr>
          <p:nvPr/>
        </p:nvSpPr>
        <p:spPr>
          <a:xfrm>
            <a:off x="263524" y="2076087"/>
            <a:ext cx="3690000" cy="4077159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200" dirty="0"/>
              <a:t>КФХ, ИП, малые фермы до 300 коров</a:t>
            </a:r>
          </a:p>
          <a:p>
            <a:pPr lvl="1"/>
            <a:endParaRPr lang="ru-RU" sz="2200" dirty="0"/>
          </a:p>
          <a:p>
            <a:pPr lvl="1"/>
            <a:r>
              <a:rPr lang="ru-RU" sz="2200" dirty="0"/>
              <a:t>Добровольное доение</a:t>
            </a:r>
          </a:p>
          <a:p>
            <a:pPr marL="0" lvl="1" indent="0">
              <a:buNone/>
            </a:pPr>
            <a:endParaRPr lang="ru-RU" sz="2200" dirty="0"/>
          </a:p>
          <a:p>
            <a:pPr lvl="1"/>
            <a:r>
              <a:rPr lang="ru-RU" sz="2200" dirty="0"/>
              <a:t>Основная предпосылка: бизнес с минимумом рабочего персонала либо с личным участием и консультантами</a:t>
            </a:r>
          </a:p>
          <a:p>
            <a:pPr lvl="1"/>
            <a:endParaRPr lang="ru-RU" dirty="0"/>
          </a:p>
        </p:txBody>
      </p:sp>
      <p:sp>
        <p:nvSpPr>
          <p:cNvPr id="19" name="Нижний колонтитул 2">
            <a:extLst>
              <a:ext uri="{FF2B5EF4-FFF2-40B4-BE49-F238E27FC236}">
                <a16:creationId xmlns:a16="http://schemas.microsoft.com/office/drawing/2014/main" id="{C212A671-6BDA-4CB3-968A-C9A14ED0C1A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038597" y="6584135"/>
            <a:ext cx="4114800" cy="107722"/>
          </a:xfrm>
        </p:spPr>
        <p:txBody>
          <a:bodyPr/>
          <a:lstStyle/>
          <a:p>
            <a:r>
              <a:rPr lang="ru-RU" dirty="0"/>
              <a:t>XIII МОЛОЧНАЯ ОЛИМПИАДА_Алматы_GE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396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35" grpId="0" animBg="1"/>
      <p:bldP spid="36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6324EDB-9873-4401-9368-50CE57E278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273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1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504CC8-1925-4EFA-9BC3-EB56FD503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7668634" cy="923330"/>
          </a:xfrm>
        </p:spPr>
        <p:txBody>
          <a:bodyPr vert="horz"/>
          <a:lstStyle/>
          <a:p>
            <a:pPr algn="ctr"/>
            <a:r>
              <a:rPr lang="ru-RU" dirty="0"/>
              <a:t>Преимущества роботизированного доения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4E5C396-3F1D-4598-8618-7503F98C8A1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0295D1-C1E7-488C-A84C-E6DF6BCC92E6}" type="datetime4">
              <a:rPr lang="en-GB" smtClean="0"/>
              <a:t>20 May 2022</a:t>
            </a:fld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0CE2E80-C6F6-4905-96A1-7981E17F852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D3B735A-0712-4989-8931-598C2A0907B8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E2213A9-FD3E-45EC-925C-B7855C70FD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/>
              <a:t>XIII МОЛОЧНАЯ ОЛИМПИАДА_Алматы_GEA</a:t>
            </a:r>
            <a:endParaRPr lang="en-GB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7224EF8B-6963-472C-99C5-20028AF0544C}"/>
              </a:ext>
            </a:extLst>
          </p:cNvPr>
          <p:cNvSpPr txBox="1">
            <a:spLocks/>
          </p:cNvSpPr>
          <p:nvPr/>
        </p:nvSpPr>
        <p:spPr>
          <a:xfrm>
            <a:off x="263525" y="1449388"/>
            <a:ext cx="4717778" cy="1285103"/>
          </a:xfrm>
          <a:prstGeom prst="homePlate">
            <a:avLst>
              <a:gd name="adj" fmla="val 25330"/>
            </a:avLst>
          </a:prstGeom>
          <a:solidFill>
            <a:schemeClr val="tx2"/>
          </a:solidFill>
        </p:spPr>
        <p:txBody>
          <a:bodyPr vert="horz" lIns="144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ru-RU" sz="2400" b="1" dirty="0">
                <a:solidFill>
                  <a:srgbClr val="FFFFFF"/>
                </a:solidFill>
              </a:rPr>
              <a:t>Идеальная машина для получения качественного молока</a:t>
            </a:r>
          </a:p>
        </p:txBody>
      </p:sp>
      <p:sp>
        <p:nvSpPr>
          <p:cNvPr id="32" name="Inhaltsplatzhalter 19">
            <a:extLst>
              <a:ext uri="{FF2B5EF4-FFF2-40B4-BE49-F238E27FC236}">
                <a16:creationId xmlns:a16="http://schemas.microsoft.com/office/drawing/2014/main" id="{2B2373AB-38C3-4402-AE27-39664E18214D}"/>
              </a:ext>
            </a:extLst>
          </p:cNvPr>
          <p:cNvSpPr txBox="1">
            <a:spLocks/>
          </p:cNvSpPr>
          <p:nvPr/>
        </p:nvSpPr>
        <p:spPr>
          <a:xfrm>
            <a:off x="1294629" y="3052442"/>
            <a:ext cx="4717778" cy="1191522"/>
          </a:xfrm>
          <a:prstGeom prst="homePlate">
            <a:avLst>
              <a:gd name="adj" fmla="val 25330"/>
            </a:avLst>
          </a:prstGeom>
          <a:solidFill>
            <a:schemeClr val="accent2"/>
          </a:solidFill>
        </p:spPr>
        <p:txBody>
          <a:bodyPr vert="horz" lIns="144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ru-RU" sz="2400" b="1" dirty="0">
                <a:solidFill>
                  <a:srgbClr val="FFFFFF"/>
                </a:solidFill>
              </a:rPr>
              <a:t>Информация в реальном времени о состоянии коровы</a:t>
            </a:r>
            <a:endParaRPr lang="en-GB" sz="3200" dirty="0">
              <a:solidFill>
                <a:schemeClr val="bg1"/>
              </a:solidFill>
            </a:endParaRPr>
          </a:p>
        </p:txBody>
      </p:sp>
      <p:sp>
        <p:nvSpPr>
          <p:cNvPr id="33" name="Inhaltsplatzhalter 19">
            <a:extLst>
              <a:ext uri="{FF2B5EF4-FFF2-40B4-BE49-F238E27FC236}">
                <a16:creationId xmlns:a16="http://schemas.microsoft.com/office/drawing/2014/main" id="{24D6E205-F0B0-4463-B49C-BF3BA5C9334C}"/>
              </a:ext>
            </a:extLst>
          </p:cNvPr>
          <p:cNvSpPr txBox="1">
            <a:spLocks/>
          </p:cNvSpPr>
          <p:nvPr/>
        </p:nvSpPr>
        <p:spPr>
          <a:xfrm>
            <a:off x="2631123" y="4561915"/>
            <a:ext cx="4717778" cy="1285103"/>
          </a:xfrm>
          <a:prstGeom prst="homePlate">
            <a:avLst>
              <a:gd name="adj" fmla="val 25330"/>
            </a:avLst>
          </a:prstGeom>
          <a:solidFill>
            <a:srgbClr val="000F41"/>
          </a:solidFill>
        </p:spPr>
        <p:txBody>
          <a:bodyPr vert="horz" lIns="144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endParaRPr lang="ru-RU" sz="2400" b="1" dirty="0">
              <a:solidFill>
                <a:srgbClr val="FFFFFF"/>
              </a:solidFill>
            </a:endParaRPr>
          </a:p>
          <a:p>
            <a:pPr lvl="0" algn="ctr"/>
            <a:r>
              <a:rPr lang="ru-RU" sz="2400" b="1" dirty="0">
                <a:solidFill>
                  <a:srgbClr val="FFFFFF"/>
                </a:solidFill>
              </a:rPr>
              <a:t>Повышение надоев</a:t>
            </a:r>
          </a:p>
        </p:txBody>
      </p:sp>
    </p:spTree>
    <p:extLst>
      <p:ext uri="{BB962C8B-B14F-4D97-AF65-F5344CB8AC3E}">
        <p14:creationId xmlns:p14="http://schemas.microsoft.com/office/powerpoint/2010/main" val="2056298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2" grpId="0" animBg="1"/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8F0915FF-7F3F-4E81-83A3-F6A724015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6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8F0915FF-7F3F-4E81-83A3-F6A724015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FE8457-78E5-488D-B3EF-A7B215EBAE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506" y="930621"/>
            <a:ext cx="7668634" cy="692497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1713C4-8557-4A71-A651-91EE5E21EEF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74B081-7C24-4D2B-8174-D80600ACC431}" type="datetime4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20 May 202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FA2460-38C6-43A5-AC74-8AC3035D57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B735A-0712-4989-8931-598C2A0907B8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7E4D95D-F528-4650-B9AF-399A9F7AA5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XIII МОЛОЧНАЯ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ОЛИМПИАДА_Алматы_GEA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A6D3C2-BAA0-43A9-A019-2CAD1C92FB96}"/>
              </a:ext>
            </a:extLst>
          </p:cNvPr>
          <p:cNvSpPr txBox="1">
            <a:spLocks/>
          </p:cNvSpPr>
          <p:nvPr/>
        </p:nvSpPr>
        <p:spPr>
          <a:xfrm>
            <a:off x="319506" y="260350"/>
            <a:ext cx="7344205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тоимость оборудования</a:t>
            </a:r>
            <a:endParaRPr lang="en-US" dirty="0"/>
          </a:p>
        </p:txBody>
      </p:sp>
      <p:sp>
        <p:nvSpPr>
          <p:cNvPr id="9" name="Inhaltsplatzhalter 19">
            <a:extLst>
              <a:ext uri="{FF2B5EF4-FFF2-40B4-BE49-F238E27FC236}">
                <a16:creationId xmlns:a16="http://schemas.microsoft.com/office/drawing/2014/main" id="{0A125FE7-6B52-464F-B5E5-7210CF55A0E1}"/>
              </a:ext>
            </a:extLst>
          </p:cNvPr>
          <p:cNvSpPr txBox="1">
            <a:spLocks/>
          </p:cNvSpPr>
          <p:nvPr/>
        </p:nvSpPr>
        <p:spPr>
          <a:xfrm>
            <a:off x="197538" y="2002403"/>
            <a:ext cx="3972954" cy="626701"/>
          </a:xfrm>
          <a:prstGeom prst="chevron">
            <a:avLst>
              <a:gd name="adj" fmla="val 32441"/>
            </a:avLst>
          </a:prstGeom>
          <a:solidFill>
            <a:schemeClr val="accent3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Проблема 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0" name="Inhaltsplatzhalter 20">
            <a:extLst>
              <a:ext uri="{FF2B5EF4-FFF2-40B4-BE49-F238E27FC236}">
                <a16:creationId xmlns:a16="http://schemas.microsoft.com/office/drawing/2014/main" id="{A92CF939-2CA4-4FCC-9771-B46D184E3F50}"/>
              </a:ext>
            </a:extLst>
          </p:cNvPr>
          <p:cNvSpPr txBox="1">
            <a:spLocks/>
          </p:cNvSpPr>
          <p:nvPr/>
        </p:nvSpPr>
        <p:spPr>
          <a:xfrm>
            <a:off x="4001058" y="2002404"/>
            <a:ext cx="3972954" cy="626701"/>
          </a:xfrm>
          <a:prstGeom prst="chevron">
            <a:avLst>
              <a:gd name="adj" fmla="val 32441"/>
            </a:avLst>
          </a:prstGeom>
          <a:solidFill>
            <a:schemeClr val="tx2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Решение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1" name="Inhaltsplatzhalter 20">
            <a:extLst>
              <a:ext uri="{FF2B5EF4-FFF2-40B4-BE49-F238E27FC236}">
                <a16:creationId xmlns:a16="http://schemas.microsoft.com/office/drawing/2014/main" id="{61554CA9-6CB5-4AF1-89DA-C85F0492648C}"/>
              </a:ext>
            </a:extLst>
          </p:cNvPr>
          <p:cNvSpPr txBox="1">
            <a:spLocks/>
          </p:cNvSpPr>
          <p:nvPr/>
        </p:nvSpPr>
        <p:spPr>
          <a:xfrm>
            <a:off x="4001058" y="2629104"/>
            <a:ext cx="3774954" cy="1881936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Дешевые кредиты</a:t>
            </a:r>
          </a:p>
          <a:p>
            <a:pPr lvl="1"/>
            <a:r>
              <a:rPr lang="ru-RU" sz="2000" dirty="0"/>
              <a:t>Субсидии на покупку оборудования</a:t>
            </a:r>
          </a:p>
          <a:p>
            <a:pPr lvl="1"/>
            <a:r>
              <a:rPr lang="ru-RU" sz="2000" dirty="0"/>
              <a:t>Заинтересованность в качественном молоке</a:t>
            </a:r>
          </a:p>
          <a:p>
            <a:pPr marL="0" lvl="1" indent="0">
              <a:buNone/>
            </a:pPr>
            <a:endParaRPr lang="ru-RU" dirty="0"/>
          </a:p>
        </p:txBody>
      </p:sp>
      <p:sp>
        <p:nvSpPr>
          <p:cNvPr id="15" name="Inhaltsplatzhalter 20">
            <a:extLst>
              <a:ext uri="{FF2B5EF4-FFF2-40B4-BE49-F238E27FC236}">
                <a16:creationId xmlns:a16="http://schemas.microsoft.com/office/drawing/2014/main" id="{541EB9B6-84D3-46AD-96DE-FFE857412254}"/>
              </a:ext>
            </a:extLst>
          </p:cNvPr>
          <p:cNvSpPr txBox="1">
            <a:spLocks/>
          </p:cNvSpPr>
          <p:nvPr/>
        </p:nvSpPr>
        <p:spPr>
          <a:xfrm>
            <a:off x="197536" y="2614537"/>
            <a:ext cx="3774954" cy="1896503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Стоимость оборудования</a:t>
            </a:r>
            <a:endParaRPr lang="en-GB" sz="2000" dirty="0"/>
          </a:p>
          <a:p>
            <a:pPr lvl="1"/>
            <a:r>
              <a:rPr lang="ru-RU" sz="2000" dirty="0"/>
              <a:t>Стоимость обслуживания</a:t>
            </a:r>
            <a:endParaRPr lang="en-GB" sz="2000" dirty="0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09EF5B51-E6F9-48EB-BA68-F7B8A42FBD38}"/>
              </a:ext>
            </a:extLst>
          </p:cNvPr>
          <p:cNvSpPr/>
          <p:nvPr/>
        </p:nvSpPr>
        <p:spPr>
          <a:xfrm>
            <a:off x="8417151" y="1933303"/>
            <a:ext cx="3223324" cy="2445199"/>
          </a:xfrm>
          <a:prstGeom prst="roundRect">
            <a:avLst>
              <a:gd name="adj" fmla="val 10000"/>
            </a:avLst>
          </a:prstGeom>
          <a:blipFill>
            <a:blip r:embed="rId6"/>
            <a:srcRect/>
            <a:stretch>
              <a:fillRect t="-11000" b="-1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670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8F0915FF-7F3F-4E81-83A3-F6A724015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8F0915FF-7F3F-4E81-83A3-F6A724015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FE8457-78E5-488D-B3EF-A7B215EBAE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506" y="930621"/>
            <a:ext cx="7668634" cy="692497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1713C4-8557-4A71-A651-91EE5E21EEF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74B081-7C24-4D2B-8174-D80600ACC431}" type="datetime4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20 May 202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FA2460-38C6-43A5-AC74-8AC3035D57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B735A-0712-4989-8931-598C2A0907B8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7E4D95D-F528-4650-B9AF-399A9F7AA5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XIII МОЛОЧНАЯ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ОЛИМПИАДА_Алматы_GEA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A6D3C2-BAA0-43A9-A019-2CAD1C92FB96}"/>
              </a:ext>
            </a:extLst>
          </p:cNvPr>
          <p:cNvSpPr txBox="1">
            <a:spLocks/>
          </p:cNvSpPr>
          <p:nvPr/>
        </p:nvSpPr>
        <p:spPr>
          <a:xfrm>
            <a:off x="319506" y="260350"/>
            <a:ext cx="7344205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адры</a:t>
            </a:r>
            <a:endParaRPr lang="en-US" dirty="0"/>
          </a:p>
        </p:txBody>
      </p:sp>
      <p:sp>
        <p:nvSpPr>
          <p:cNvPr id="9" name="Inhaltsplatzhalter 19">
            <a:extLst>
              <a:ext uri="{FF2B5EF4-FFF2-40B4-BE49-F238E27FC236}">
                <a16:creationId xmlns:a16="http://schemas.microsoft.com/office/drawing/2014/main" id="{0A125FE7-6B52-464F-B5E5-7210CF55A0E1}"/>
              </a:ext>
            </a:extLst>
          </p:cNvPr>
          <p:cNvSpPr txBox="1">
            <a:spLocks/>
          </p:cNvSpPr>
          <p:nvPr/>
        </p:nvSpPr>
        <p:spPr>
          <a:xfrm>
            <a:off x="197538" y="2002403"/>
            <a:ext cx="3774954" cy="626701"/>
          </a:xfrm>
          <a:prstGeom prst="chevron">
            <a:avLst>
              <a:gd name="adj" fmla="val 32441"/>
            </a:avLst>
          </a:prstGeom>
          <a:solidFill>
            <a:schemeClr val="accent3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Проблема 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0" name="Inhaltsplatzhalter 20">
            <a:extLst>
              <a:ext uri="{FF2B5EF4-FFF2-40B4-BE49-F238E27FC236}">
                <a16:creationId xmlns:a16="http://schemas.microsoft.com/office/drawing/2014/main" id="{A92CF939-2CA4-4FCC-9771-B46D184E3F50}"/>
              </a:ext>
            </a:extLst>
          </p:cNvPr>
          <p:cNvSpPr txBox="1">
            <a:spLocks/>
          </p:cNvSpPr>
          <p:nvPr/>
        </p:nvSpPr>
        <p:spPr>
          <a:xfrm>
            <a:off x="3859213" y="2002404"/>
            <a:ext cx="4114800" cy="626701"/>
          </a:xfrm>
          <a:prstGeom prst="chevron">
            <a:avLst>
              <a:gd name="adj" fmla="val 32441"/>
            </a:avLst>
          </a:prstGeom>
          <a:solidFill>
            <a:schemeClr val="tx2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Решение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1" name="Inhaltsplatzhalter 20">
            <a:extLst>
              <a:ext uri="{FF2B5EF4-FFF2-40B4-BE49-F238E27FC236}">
                <a16:creationId xmlns:a16="http://schemas.microsoft.com/office/drawing/2014/main" id="{61554CA9-6CB5-4AF1-89DA-C85F0492648C}"/>
              </a:ext>
            </a:extLst>
          </p:cNvPr>
          <p:cNvSpPr txBox="1">
            <a:spLocks/>
          </p:cNvSpPr>
          <p:nvPr/>
        </p:nvSpPr>
        <p:spPr>
          <a:xfrm>
            <a:off x="3888012" y="2629104"/>
            <a:ext cx="3888000" cy="1881936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Обучение</a:t>
            </a:r>
          </a:p>
          <a:p>
            <a:pPr lvl="1"/>
            <a:r>
              <a:rPr lang="ru-RU" sz="2000" dirty="0"/>
              <a:t>Практика в ведущих хозяйствах</a:t>
            </a:r>
          </a:p>
          <a:p>
            <a:pPr lvl="1"/>
            <a:r>
              <a:rPr lang="ru-RU" sz="2000" dirty="0"/>
              <a:t>Развитие инфраструктуры села</a:t>
            </a:r>
          </a:p>
          <a:p>
            <a:pPr marL="0" lvl="1" indent="0">
              <a:buNone/>
            </a:pPr>
            <a:endParaRPr lang="ru-RU" dirty="0"/>
          </a:p>
        </p:txBody>
      </p:sp>
      <p:sp>
        <p:nvSpPr>
          <p:cNvPr id="15" name="Inhaltsplatzhalter 20">
            <a:extLst>
              <a:ext uri="{FF2B5EF4-FFF2-40B4-BE49-F238E27FC236}">
                <a16:creationId xmlns:a16="http://schemas.microsoft.com/office/drawing/2014/main" id="{541EB9B6-84D3-46AD-96DE-FFE857412254}"/>
              </a:ext>
            </a:extLst>
          </p:cNvPr>
          <p:cNvSpPr txBox="1">
            <a:spLocks/>
          </p:cNvSpPr>
          <p:nvPr/>
        </p:nvSpPr>
        <p:spPr>
          <a:xfrm>
            <a:off x="197536" y="2614537"/>
            <a:ext cx="3576955" cy="1896503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Квалификация </a:t>
            </a:r>
            <a:endParaRPr lang="en-GB" sz="2000" dirty="0"/>
          </a:p>
          <a:p>
            <a:pPr lvl="1"/>
            <a:r>
              <a:rPr lang="ru-RU" sz="2000" dirty="0"/>
              <a:t>Отток из села</a:t>
            </a:r>
            <a:endParaRPr lang="en-GB" sz="2000" dirty="0"/>
          </a:p>
        </p:txBody>
      </p:sp>
      <p:pic>
        <p:nvPicPr>
          <p:cNvPr id="77828" name="Picture 4">
            <a:extLst>
              <a:ext uri="{FF2B5EF4-FFF2-40B4-BE49-F238E27FC236}">
                <a16:creationId xmlns:a16="http://schemas.microsoft.com/office/drawing/2014/main" id="{3C2BD1C1-C745-4810-BEB3-2E2F7748CC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866" y="2002403"/>
            <a:ext cx="3443609" cy="229573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2301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8F0915FF-7F3F-4E81-83A3-F6A724015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8F0915FF-7F3F-4E81-83A3-F6A724015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FE8457-78E5-488D-B3EF-A7B215EBAE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506" y="930621"/>
            <a:ext cx="7668634" cy="692497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1713C4-8557-4A71-A651-91EE5E21EEF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74B081-7C24-4D2B-8174-D80600ACC431}" type="datetime4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20 May 202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FA2460-38C6-43A5-AC74-8AC3035D57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3B735A-0712-4989-8931-598C2A0907B8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7E4D95D-F528-4650-B9AF-399A9F7AA5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XIII МОЛОЧНАЯ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303B8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ОЛИМПИАДА_Алматы_GEA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A6D3C2-BAA0-43A9-A019-2CAD1C92FB96}"/>
              </a:ext>
            </a:extLst>
          </p:cNvPr>
          <p:cNvSpPr txBox="1">
            <a:spLocks/>
          </p:cNvSpPr>
          <p:nvPr/>
        </p:nvSpPr>
        <p:spPr>
          <a:xfrm>
            <a:off x="319506" y="260350"/>
            <a:ext cx="7344205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оровы 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303B8"/>
              </a:solidFill>
              <a:effectLst/>
              <a:uLnTx/>
              <a:uFillTx/>
              <a:latin typeface="Inter Medium"/>
              <a:ea typeface="+mj-ea"/>
              <a:cs typeface="+mj-cs"/>
            </a:endParaRPr>
          </a:p>
        </p:txBody>
      </p:sp>
      <p:sp>
        <p:nvSpPr>
          <p:cNvPr id="9" name="Inhaltsplatzhalter 19">
            <a:extLst>
              <a:ext uri="{FF2B5EF4-FFF2-40B4-BE49-F238E27FC236}">
                <a16:creationId xmlns:a16="http://schemas.microsoft.com/office/drawing/2014/main" id="{0A125FE7-6B52-464F-B5E5-7210CF55A0E1}"/>
              </a:ext>
            </a:extLst>
          </p:cNvPr>
          <p:cNvSpPr txBox="1">
            <a:spLocks/>
          </p:cNvSpPr>
          <p:nvPr/>
        </p:nvSpPr>
        <p:spPr>
          <a:xfrm>
            <a:off x="197538" y="2002403"/>
            <a:ext cx="3774954" cy="626701"/>
          </a:xfrm>
          <a:prstGeom prst="chevron">
            <a:avLst>
              <a:gd name="adj" fmla="val 32441"/>
            </a:avLst>
          </a:prstGeom>
          <a:solidFill>
            <a:schemeClr val="accent3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Проблема 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0" name="Inhaltsplatzhalter 20">
            <a:extLst>
              <a:ext uri="{FF2B5EF4-FFF2-40B4-BE49-F238E27FC236}">
                <a16:creationId xmlns:a16="http://schemas.microsoft.com/office/drawing/2014/main" id="{A92CF939-2CA4-4FCC-9771-B46D184E3F50}"/>
              </a:ext>
            </a:extLst>
          </p:cNvPr>
          <p:cNvSpPr txBox="1">
            <a:spLocks/>
          </p:cNvSpPr>
          <p:nvPr/>
        </p:nvSpPr>
        <p:spPr>
          <a:xfrm>
            <a:off x="3859213" y="2002404"/>
            <a:ext cx="4114800" cy="626701"/>
          </a:xfrm>
          <a:prstGeom prst="chevron">
            <a:avLst>
              <a:gd name="adj" fmla="val 32441"/>
            </a:avLst>
          </a:prstGeom>
          <a:solidFill>
            <a:schemeClr val="tx2"/>
          </a:solidFill>
        </p:spPr>
        <p:txBody>
          <a:bodyPr vert="horz" lIns="72000" tIns="36000" rIns="72000" bIns="3600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lvl="2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lvl="3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lvl="4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400" b="1" dirty="0">
                <a:solidFill>
                  <a:schemeClr val="bg1"/>
                </a:solidFill>
              </a:rPr>
              <a:t>Решение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1" name="Inhaltsplatzhalter 20">
            <a:extLst>
              <a:ext uri="{FF2B5EF4-FFF2-40B4-BE49-F238E27FC236}">
                <a16:creationId xmlns:a16="http://schemas.microsoft.com/office/drawing/2014/main" id="{61554CA9-6CB5-4AF1-89DA-C85F0492648C}"/>
              </a:ext>
            </a:extLst>
          </p:cNvPr>
          <p:cNvSpPr txBox="1">
            <a:spLocks/>
          </p:cNvSpPr>
          <p:nvPr/>
        </p:nvSpPr>
        <p:spPr>
          <a:xfrm>
            <a:off x="3888012" y="2629104"/>
            <a:ext cx="3888000" cy="1492532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Покупка скота под роботов</a:t>
            </a:r>
          </a:p>
          <a:p>
            <a:pPr lvl="1"/>
            <a:r>
              <a:rPr lang="ru-RU" sz="2000" dirty="0"/>
              <a:t>Повышение качество кормов</a:t>
            </a:r>
            <a:endParaRPr lang="en-US" sz="2000" dirty="0"/>
          </a:p>
          <a:p>
            <a:pPr lvl="1"/>
            <a:r>
              <a:rPr lang="ru-RU" sz="2000" dirty="0"/>
              <a:t>Комфорт</a:t>
            </a:r>
          </a:p>
          <a:p>
            <a:pPr marL="0" lvl="1" indent="0">
              <a:buNone/>
            </a:pPr>
            <a:endParaRPr lang="ru-RU" sz="2000" dirty="0"/>
          </a:p>
          <a:p>
            <a:pPr marL="0" lvl="1" indent="0">
              <a:buNone/>
            </a:pPr>
            <a:endParaRPr lang="ru-RU" dirty="0"/>
          </a:p>
        </p:txBody>
      </p:sp>
      <p:sp>
        <p:nvSpPr>
          <p:cNvPr id="15" name="Inhaltsplatzhalter 20">
            <a:extLst>
              <a:ext uri="{FF2B5EF4-FFF2-40B4-BE49-F238E27FC236}">
                <a16:creationId xmlns:a16="http://schemas.microsoft.com/office/drawing/2014/main" id="{541EB9B6-84D3-46AD-96DE-FFE857412254}"/>
              </a:ext>
            </a:extLst>
          </p:cNvPr>
          <p:cNvSpPr txBox="1">
            <a:spLocks/>
          </p:cNvSpPr>
          <p:nvPr/>
        </p:nvSpPr>
        <p:spPr>
          <a:xfrm>
            <a:off x="197536" y="2614537"/>
            <a:ext cx="3576955" cy="149253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1pPr>
            <a:lvl2pPr marL="177800" lvl="1" indent="-1778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360363" indent="-185738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534988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719138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  <a:lvl6pPr marL="895350" indent="-176213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6pPr>
            <a:lvl7pPr marL="1079500" indent="-1841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7pPr>
            <a:lvl8pPr marL="1254125" indent="-174625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ru-RU" sz="2000" dirty="0"/>
              <a:t>Генетика</a:t>
            </a:r>
            <a:endParaRPr lang="en-GB" sz="2000" dirty="0"/>
          </a:p>
          <a:p>
            <a:pPr lvl="1"/>
            <a:r>
              <a:rPr lang="ru-RU" sz="2000" dirty="0"/>
              <a:t>Корма</a:t>
            </a:r>
            <a:endParaRPr lang="en-GB" sz="2000" dirty="0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ADD92705-1521-4AEF-8001-23EECF7FE4A3}"/>
              </a:ext>
            </a:extLst>
          </p:cNvPr>
          <p:cNvSpPr/>
          <p:nvPr/>
        </p:nvSpPr>
        <p:spPr>
          <a:xfrm>
            <a:off x="8416555" y="1623118"/>
            <a:ext cx="3367920" cy="2557569"/>
          </a:xfrm>
          <a:prstGeom prst="roundRect">
            <a:avLst>
              <a:gd name="adj" fmla="val 10000"/>
            </a:avLst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000" r="-6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1127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56&quot; g=&quot;98&quot; b=&quot;D4&quot;/&gt;&lt;/elem&gt;&lt;elem m_fUsage=&quot;9.00000000000000022204E-01&quot;&gt;&lt;m_msothmcolidx val=&quot;0&quot;/&gt;&lt;m_rgb r=&quot;69&quot; g=&quot;C5&quot; b=&quot;9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fn_BKAoJfKeNZjRQrN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_m90uWSGI8g5jAKnm0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bHUkegfSjc7YpovYT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vduJs3rnMpwxQnODZ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mKi4RyLuBmkUDqHrJ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GEA_Templat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lIns="108000" tIns="72000" rIns="108000" bIns="72000" rtlCol="0" anchor="ctr"/>
      <a:lstStyle>
        <a:defPPr marL="174625" indent="-174625" algn="l">
          <a:buFont typeface="Wingdings" panose="05000000000000000000" pitchFamily="2" charset="2"/>
          <a:buChar char="§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Dark Red">
      <a:srgbClr val="57021D"/>
    </a:custClr>
    <a:custClr name="Red">
      <a:srgbClr val="DB1E28"/>
    </a:custClr>
    <a:custClr name="Light Red">
      <a:srgbClr val="FFA4A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Green">
      <a:srgbClr val="0A3D1B"/>
    </a:custClr>
    <a:custClr name="Green">
      <a:srgbClr val="129C4D"/>
    </a:custClr>
    <a:custClr name="Light Green">
      <a:srgbClr val="53F99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Yellow">
      <a:srgbClr val="5F5407"/>
    </a:custClr>
    <a:custClr name="Yellow">
      <a:srgbClr val="F2CB00"/>
    </a:custClr>
    <a:custClr name="Light Yellow">
      <a:srgbClr val="FFEA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20125_GEA_Template_VibrantBlue.potx" id="{DED66667-37B9-46FB-8126-28FE29F08BBA}" vid="{9FECB2B8-1301-4969-BBB1-215F5E01DE9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0</TotalTime>
  <Words>365</Words>
  <Application>Microsoft Office PowerPoint</Application>
  <PresentationFormat>Широкоэкранный</PresentationFormat>
  <Paragraphs>128</Paragraphs>
  <Slides>1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Calibri</vt:lpstr>
      <vt:lpstr>GEA Sans Bold</vt:lpstr>
      <vt:lpstr>Inter</vt:lpstr>
      <vt:lpstr>Inter Medium</vt:lpstr>
      <vt:lpstr>Symbol</vt:lpstr>
      <vt:lpstr>Wingdings</vt:lpstr>
      <vt:lpstr>2_GEA_Template</vt:lpstr>
      <vt:lpstr>Слайд think-cell</vt:lpstr>
      <vt:lpstr>Роботизация в производстве молока. Проблемы. Решения. Перспективы.</vt:lpstr>
      <vt:lpstr>Почему интересуются роботами?</vt:lpstr>
      <vt:lpstr>Автоматизация захватит все процессы, в которых она возможна</vt:lpstr>
      <vt:lpstr>Выбор технологии доения</vt:lpstr>
      <vt:lpstr>Технологии содержания </vt:lpstr>
      <vt:lpstr>Преимущества роботизированного доения</vt:lpstr>
      <vt:lpstr>Презентация PowerPoint</vt:lpstr>
      <vt:lpstr>Презентация PowerPoint</vt:lpstr>
      <vt:lpstr>Презентация PowerPoint</vt:lpstr>
      <vt:lpstr>Секреты успеха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дивизиона Farm Technologies</dc:title>
  <dc:creator>Saetova, Albina</dc:creator>
  <cp:lastModifiedBy>Artyhov, Alexander</cp:lastModifiedBy>
  <cp:revision>63</cp:revision>
  <dcterms:created xsi:type="dcterms:W3CDTF">2022-05-13T07:25:50Z</dcterms:created>
  <dcterms:modified xsi:type="dcterms:W3CDTF">2022-05-20T17:1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688d38-24b0-47bd-b6ed-0cb1b7409201_Enabled">
    <vt:lpwstr>true</vt:lpwstr>
  </property>
  <property fmtid="{D5CDD505-2E9C-101B-9397-08002B2CF9AE}" pid="3" name="MSIP_Label_d5688d38-24b0-47bd-b6ed-0cb1b7409201_SetDate">
    <vt:lpwstr>2022-05-20T17:11:42Z</vt:lpwstr>
  </property>
  <property fmtid="{D5CDD505-2E9C-101B-9397-08002B2CF9AE}" pid="4" name="MSIP_Label_d5688d38-24b0-47bd-b6ed-0cb1b7409201_Method">
    <vt:lpwstr>Privileged</vt:lpwstr>
  </property>
  <property fmtid="{D5CDD505-2E9C-101B-9397-08002B2CF9AE}" pid="5" name="MSIP_Label_d5688d38-24b0-47bd-b6ed-0cb1b7409201_Name">
    <vt:lpwstr>With Visual Marking_0</vt:lpwstr>
  </property>
  <property fmtid="{D5CDD505-2E9C-101B-9397-08002B2CF9AE}" pid="6" name="MSIP_Label_d5688d38-24b0-47bd-b6ed-0cb1b7409201_SiteId">
    <vt:lpwstr>0e17f90f-88a3-4f93-a5d7-cc847cff307e</vt:lpwstr>
  </property>
  <property fmtid="{D5CDD505-2E9C-101B-9397-08002B2CF9AE}" pid="7" name="MSIP_Label_d5688d38-24b0-47bd-b6ed-0cb1b7409201_ActionId">
    <vt:lpwstr>8387c13f-c484-4ae2-85c7-d26e0352e252</vt:lpwstr>
  </property>
  <property fmtid="{D5CDD505-2E9C-101B-9397-08002B2CF9AE}" pid="8" name="MSIP_Label_d5688d38-24b0-47bd-b6ed-0cb1b7409201_ContentBits">
    <vt:lpwstr>2</vt:lpwstr>
  </property>
</Properties>
</file>